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280" r:id="rId2"/>
    <p:sldId id="311" r:id="rId3"/>
    <p:sldId id="296" r:id="rId4"/>
    <p:sldId id="302" r:id="rId5"/>
    <p:sldId id="297" r:id="rId6"/>
    <p:sldId id="313" r:id="rId7"/>
    <p:sldId id="298" r:id="rId8"/>
    <p:sldId id="307" r:id="rId9"/>
    <p:sldId id="316" r:id="rId10"/>
    <p:sldId id="310" r:id="rId11"/>
    <p:sldId id="315" r:id="rId12"/>
    <p:sldId id="317" r:id="rId13"/>
    <p:sldId id="318" r:id="rId14"/>
    <p:sldId id="319" r:id="rId15"/>
    <p:sldId id="320" r:id="rId16"/>
    <p:sldId id="263" r:id="rId17"/>
    <p:sldId id="293" r:id="rId18"/>
    <p:sldId id="294" r:id="rId19"/>
    <p:sldId id="321" r:id="rId20"/>
    <p:sldId id="283" r:id="rId21"/>
    <p:sldId id="295" r:id="rId22"/>
    <p:sldId id="272" r:id="rId23"/>
  </p:sldIdLst>
  <p:sldSz cx="9144000" cy="6858000" type="screen4x3"/>
  <p:notesSz cx="6784975" cy="9906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2626" autoAdjust="0"/>
  </p:normalViewPr>
  <p:slideViewPr>
    <p:cSldViewPr>
      <p:cViewPr varScale="1">
        <p:scale>
          <a:sx n="100" d="100"/>
          <a:sy n="100" d="100"/>
        </p:scale>
        <p:origin x="-294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005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43338" y="0"/>
            <a:ext cx="294005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F0FEFB3-050A-47A4-955D-0E844B73989D}" type="datetimeFigureOut">
              <a:rPr lang="ko-KR" altLang="en-US" smtClean="0"/>
              <a:t>2014-10-23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9409113"/>
            <a:ext cx="294005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43338" y="9409113"/>
            <a:ext cx="294005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638CE7-E1F5-4559-992E-A5A10764B52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579479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0156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43249" y="0"/>
            <a:ext cx="2940156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6A162A-673D-4FFB-A00D-5B51E279A15D}" type="datetimeFigureOut">
              <a:rPr lang="ko-KR" altLang="en-US" smtClean="0"/>
              <a:t>2014-10-23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15988" y="742950"/>
            <a:ext cx="4953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8498" y="4705350"/>
            <a:ext cx="5427980" cy="44577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40156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43249" y="9408981"/>
            <a:ext cx="2940156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96F7CB-DAC7-4203-99B8-8278C5B9B15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77810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1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1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1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1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1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1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1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1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2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2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2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1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E678AA-3E85-437E-97B7-277A7F909C6F}" type="datetimeFigureOut">
              <a:rPr lang="ko-KR" altLang="en-US" smtClean="0"/>
              <a:t>2014-10-2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67535B-1A41-48D0-BBAD-1395EB65C7A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669922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E678AA-3E85-437E-97B7-277A7F909C6F}" type="datetimeFigureOut">
              <a:rPr lang="ko-KR" altLang="en-US" smtClean="0"/>
              <a:t>2014-10-2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67535B-1A41-48D0-BBAD-1395EB65C7A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435643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E678AA-3E85-437E-97B7-277A7F909C6F}" type="datetimeFigureOut">
              <a:rPr lang="ko-KR" altLang="en-US" smtClean="0"/>
              <a:t>2014-10-2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67535B-1A41-48D0-BBAD-1395EB65C7A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424167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E678AA-3E85-437E-97B7-277A7F909C6F}" type="datetimeFigureOut">
              <a:rPr lang="ko-KR" altLang="en-US" smtClean="0"/>
              <a:t>2014-10-2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67535B-1A41-48D0-BBAD-1395EB65C7A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19954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E678AA-3E85-437E-97B7-277A7F909C6F}" type="datetimeFigureOut">
              <a:rPr lang="ko-KR" altLang="en-US" smtClean="0"/>
              <a:t>2014-10-2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67535B-1A41-48D0-BBAD-1395EB65C7A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382238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E678AA-3E85-437E-97B7-277A7F909C6F}" type="datetimeFigureOut">
              <a:rPr lang="ko-KR" altLang="en-US" smtClean="0"/>
              <a:t>2014-10-23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67535B-1A41-48D0-BBAD-1395EB65C7A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364324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E678AA-3E85-437E-97B7-277A7F909C6F}" type="datetimeFigureOut">
              <a:rPr lang="ko-KR" altLang="en-US" smtClean="0"/>
              <a:t>2014-10-23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67535B-1A41-48D0-BBAD-1395EB65C7A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967532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E678AA-3E85-437E-97B7-277A7F909C6F}" type="datetimeFigureOut">
              <a:rPr lang="ko-KR" altLang="en-US" smtClean="0"/>
              <a:t>2014-10-23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67535B-1A41-48D0-BBAD-1395EB65C7A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66323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E678AA-3E85-437E-97B7-277A7F909C6F}" type="datetimeFigureOut">
              <a:rPr lang="ko-KR" altLang="en-US" smtClean="0"/>
              <a:t>2014-10-23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67535B-1A41-48D0-BBAD-1395EB65C7A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752481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E678AA-3E85-437E-97B7-277A7F909C6F}" type="datetimeFigureOut">
              <a:rPr lang="ko-KR" altLang="en-US" smtClean="0"/>
              <a:t>2014-10-23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67535B-1A41-48D0-BBAD-1395EB65C7A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159737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E678AA-3E85-437E-97B7-277A7F909C6F}" type="datetimeFigureOut">
              <a:rPr lang="ko-KR" altLang="en-US" smtClean="0"/>
              <a:t>2014-10-23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67535B-1A41-48D0-BBAD-1395EB65C7A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163059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E678AA-3E85-437E-97B7-277A7F909C6F}" type="datetimeFigureOut">
              <a:rPr lang="ko-KR" altLang="en-US" smtClean="0"/>
              <a:t>2014-10-2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67535B-1A41-48D0-BBAD-1395EB65C7A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734311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jpg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4.png"/><Relationship Id="rId4" Type="http://schemas.openxmlformats.org/officeDocument/2006/relationships/tags" Target="../tags/tag3.xml"/><Relationship Id="rId9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5.jpg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microsoft.com/office/2007/relationships/hdphoto" Target="../media/hdphoto1.wdp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2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2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2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2.jpeg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3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3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2" y="0"/>
            <a:ext cx="9144000" cy="6858000"/>
          </a:xfrm>
          <a:prstGeom prst="rect">
            <a:avLst/>
          </a:prstGeom>
        </p:spPr>
      </p:pic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0662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Oval 45"/>
          <p:cNvSpPr/>
          <p:nvPr/>
        </p:nvSpPr>
        <p:spPr>
          <a:xfrm>
            <a:off x="215304" y="161493"/>
            <a:ext cx="539719" cy="508017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479823" y="2708920"/>
            <a:ext cx="6307919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ko-KR" altLang="en-US" sz="5400" dirty="0" smtClean="0">
                <a:solidFill>
                  <a:srgbClr val="0B538F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복지 희망 사회 실현</a:t>
            </a:r>
            <a:endParaRPr lang="en-US" sz="5400" dirty="0">
              <a:solidFill>
                <a:srgbClr val="0B538F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 flipH="1">
            <a:off x="1408890" y="2492896"/>
            <a:ext cx="6475478" cy="0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1619671" y="1561883"/>
            <a:ext cx="5396433" cy="7017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3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건복지부 종합감사</a:t>
            </a:r>
            <a:endParaRPr lang="en-US" altLang="ko-KR" sz="3600" dirty="0" smtClean="0">
              <a:solidFill>
                <a:schemeClr val="tx1">
                  <a:lumMod val="65000"/>
                  <a:lumOff val="35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217142" y="343248"/>
            <a:ext cx="53788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2014</a:t>
            </a:r>
            <a:endParaRPr lang="en-US" sz="11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5847835" y="5374034"/>
            <a:ext cx="254058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회의원   </a:t>
            </a:r>
            <a:r>
              <a:rPr lang="ko-KR" altLang="en-US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이 명 수</a:t>
            </a:r>
            <a:endParaRPr lang="en-US" sz="28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71010" y="254848"/>
            <a:ext cx="1842926" cy="4231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ko-KR" altLang="en-US" sz="1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건복지위원회</a:t>
            </a:r>
            <a:endParaRPr lang="en-US" altLang="ko-KR" sz="110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정감</a:t>
            </a:r>
            <a:r>
              <a:rPr lang="ko-KR" altLang="en-US" sz="11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사</a:t>
            </a:r>
            <a:endParaRPr lang="en-US" sz="11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893433" y="5875444"/>
            <a:ext cx="244938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ko-KR" sz="1400" dirty="0" smtClean="0">
                <a:solidFill>
                  <a:schemeClr val="accent2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400" dirty="0" smtClean="0">
                <a:solidFill>
                  <a:schemeClr val="accent2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충남 아산</a:t>
            </a:r>
            <a:r>
              <a:rPr lang="en-US" altLang="ko-KR" sz="1400" dirty="0" smtClean="0">
                <a:solidFill>
                  <a:schemeClr val="accent2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400" dirty="0" err="1" smtClean="0">
                <a:solidFill>
                  <a:schemeClr val="accent2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새누리당</a:t>
            </a:r>
            <a:r>
              <a:rPr lang="en-US" altLang="ko-KR" sz="1400" dirty="0" smtClean="0">
                <a:solidFill>
                  <a:schemeClr val="accent2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endParaRPr lang="en-US" sz="1400" dirty="0">
              <a:solidFill>
                <a:schemeClr val="accent2">
                  <a:lumMod val="75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84" y="5832161"/>
            <a:ext cx="539951" cy="258727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5318" y="1546721"/>
            <a:ext cx="2233222" cy="918156"/>
          </a:xfrm>
          <a:prstGeom prst="rect">
            <a:avLst/>
          </a:prstGeom>
        </p:spPr>
      </p:pic>
      <p:grpSp>
        <p:nvGrpSpPr>
          <p:cNvPr id="14" name="Group 348"/>
          <p:cNvGrpSpPr/>
          <p:nvPr/>
        </p:nvGrpSpPr>
        <p:grpSpPr>
          <a:xfrm>
            <a:off x="426239" y="6370186"/>
            <a:ext cx="1453620" cy="288575"/>
            <a:chOff x="2077120" y="4859661"/>
            <a:chExt cx="1453620" cy="288575"/>
          </a:xfrm>
        </p:grpSpPr>
        <p:sp>
          <p:nvSpPr>
            <p:cNvPr id="15" name="Freeform 6"/>
            <p:cNvSpPr>
              <a:spLocks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2077120" y="4859661"/>
              <a:ext cx="290457" cy="288575"/>
            </a:xfrm>
            <a:custGeom>
              <a:avLst/>
              <a:gdLst>
                <a:gd name="T0" fmla="*/ 1285 w 2772"/>
                <a:gd name="T1" fmla="*/ 205 h 2759"/>
                <a:gd name="T2" fmla="*/ 1485 w 2772"/>
                <a:gd name="T3" fmla="*/ 195 h 2759"/>
                <a:gd name="T4" fmla="*/ 2533 w 2772"/>
                <a:gd name="T5" fmla="*/ 616 h 2759"/>
                <a:gd name="T6" fmla="*/ 2366 w 2772"/>
                <a:gd name="T7" fmla="*/ 2357 h 2759"/>
                <a:gd name="T8" fmla="*/ 1023 w 2772"/>
                <a:gd name="T9" fmla="*/ 2708 h 2759"/>
                <a:gd name="T10" fmla="*/ 45 w 2772"/>
                <a:gd name="T11" fmla="*/ 1742 h 2759"/>
                <a:gd name="T12" fmla="*/ 292 w 2772"/>
                <a:gd name="T13" fmla="*/ 534 h 2759"/>
                <a:gd name="T14" fmla="*/ 1142 w 2772"/>
                <a:gd name="T15" fmla="*/ 21 h 2759"/>
                <a:gd name="T16" fmla="*/ 2158 w 2772"/>
                <a:gd name="T17" fmla="*/ 302 h 2759"/>
                <a:gd name="T18" fmla="*/ 702 w 2772"/>
                <a:gd name="T19" fmla="*/ 244 h 2759"/>
                <a:gd name="T20" fmla="*/ 364 w 2772"/>
                <a:gd name="T21" fmla="*/ 534 h 2759"/>
                <a:gd name="T22" fmla="*/ 266 w 2772"/>
                <a:gd name="T23" fmla="*/ 1264 h 2759"/>
                <a:gd name="T24" fmla="*/ 55 w 2772"/>
                <a:gd name="T25" fmla="*/ 1418 h 2759"/>
                <a:gd name="T26" fmla="*/ 1323 w 2772"/>
                <a:gd name="T27" fmla="*/ 2705 h 2759"/>
                <a:gd name="T28" fmla="*/ 2580 w 2772"/>
                <a:gd name="T29" fmla="*/ 1968 h 2759"/>
                <a:gd name="T30" fmla="*/ 2611 w 2772"/>
                <a:gd name="T31" fmla="*/ 1678 h 2759"/>
                <a:gd name="T32" fmla="*/ 2605 w 2772"/>
                <a:gd name="T33" fmla="*/ 1008 h 2759"/>
                <a:gd name="T34" fmla="*/ 2692 w 2772"/>
                <a:gd name="T35" fmla="*/ 1488 h 2759"/>
                <a:gd name="T36" fmla="*/ 1696 w 2772"/>
                <a:gd name="T37" fmla="*/ 112 h 2759"/>
                <a:gd name="T38" fmla="*/ 1735 w 2772"/>
                <a:gd name="T39" fmla="*/ 159 h 2759"/>
                <a:gd name="T40" fmla="*/ 1707 w 2772"/>
                <a:gd name="T41" fmla="*/ 269 h 2759"/>
                <a:gd name="T42" fmla="*/ 2308 w 2772"/>
                <a:gd name="T43" fmla="*/ 642 h 2759"/>
                <a:gd name="T44" fmla="*/ 2588 w 2772"/>
                <a:gd name="T45" fmla="*/ 903 h 2759"/>
                <a:gd name="T46" fmla="*/ 2194 w 2772"/>
                <a:gd name="T47" fmla="*/ 728 h 2759"/>
                <a:gd name="T48" fmla="*/ 1726 w 2772"/>
                <a:gd name="T49" fmla="*/ 310 h 2759"/>
                <a:gd name="T50" fmla="*/ 1627 w 2772"/>
                <a:gd name="T51" fmla="*/ 295 h 2759"/>
                <a:gd name="T52" fmla="*/ 2070 w 2772"/>
                <a:gd name="T53" fmla="*/ 2496 h 2759"/>
                <a:gd name="T54" fmla="*/ 2480 w 2772"/>
                <a:gd name="T55" fmla="*/ 1784 h 2759"/>
                <a:gd name="T56" fmla="*/ 2399 w 2772"/>
                <a:gd name="T57" fmla="*/ 2180 h 2759"/>
                <a:gd name="T58" fmla="*/ 2054 w 2772"/>
                <a:gd name="T59" fmla="*/ 1566 h 2759"/>
                <a:gd name="T60" fmla="*/ 2130 w 2772"/>
                <a:gd name="T61" fmla="*/ 840 h 2759"/>
                <a:gd name="T62" fmla="*/ 2108 w 2772"/>
                <a:gd name="T63" fmla="*/ 711 h 2759"/>
                <a:gd name="T64" fmla="*/ 1906 w 2772"/>
                <a:gd name="T65" fmla="*/ 501 h 2759"/>
                <a:gd name="T66" fmla="*/ 1438 w 2772"/>
                <a:gd name="T67" fmla="*/ 288 h 2759"/>
                <a:gd name="T68" fmla="*/ 1414 w 2772"/>
                <a:gd name="T69" fmla="*/ 2483 h 2759"/>
                <a:gd name="T70" fmla="*/ 1979 w 2772"/>
                <a:gd name="T71" fmla="*/ 1980 h 2759"/>
                <a:gd name="T72" fmla="*/ 2035 w 2772"/>
                <a:gd name="T73" fmla="*/ 1690 h 2759"/>
                <a:gd name="T74" fmla="*/ 1984 w 2772"/>
                <a:gd name="T75" fmla="*/ 1425 h 2759"/>
                <a:gd name="T76" fmla="*/ 1801 w 2772"/>
                <a:gd name="T77" fmla="*/ 859 h 2759"/>
                <a:gd name="T78" fmla="*/ 1562 w 2772"/>
                <a:gd name="T79" fmla="*/ 407 h 2759"/>
                <a:gd name="T80" fmla="*/ 1180 w 2772"/>
                <a:gd name="T81" fmla="*/ 97 h 2759"/>
                <a:gd name="T82" fmla="*/ 1050 w 2772"/>
                <a:gd name="T83" fmla="*/ 188 h 2759"/>
                <a:gd name="T84" fmla="*/ 900 w 2772"/>
                <a:gd name="T85" fmla="*/ 234 h 2759"/>
                <a:gd name="T86" fmla="*/ 929 w 2772"/>
                <a:gd name="T87" fmla="*/ 265 h 2759"/>
                <a:gd name="T88" fmla="*/ 1001 w 2772"/>
                <a:gd name="T89" fmla="*/ 242 h 2759"/>
                <a:gd name="T90" fmla="*/ 739 w 2772"/>
                <a:gd name="T91" fmla="*/ 554 h 2759"/>
                <a:gd name="T92" fmla="*/ 207 w 2772"/>
                <a:gd name="T93" fmla="*/ 1031 h 2759"/>
                <a:gd name="T94" fmla="*/ 427 w 2772"/>
                <a:gd name="T95" fmla="*/ 549 h 2759"/>
                <a:gd name="T96" fmla="*/ 968 w 2772"/>
                <a:gd name="T97" fmla="*/ 605 h 2759"/>
                <a:gd name="T98" fmla="*/ 777 w 2772"/>
                <a:gd name="T99" fmla="*/ 871 h 2759"/>
                <a:gd name="T100" fmla="*/ 424 w 2772"/>
                <a:gd name="T101" fmla="*/ 1271 h 2759"/>
                <a:gd name="T102" fmla="*/ 258 w 2772"/>
                <a:gd name="T103" fmla="*/ 1401 h 2759"/>
                <a:gd name="T104" fmla="*/ 671 w 2772"/>
                <a:gd name="T105" fmla="*/ 1431 h 2759"/>
                <a:gd name="T106" fmla="*/ 342 w 2772"/>
                <a:gd name="T107" fmla="*/ 2162 h 2759"/>
                <a:gd name="T108" fmla="*/ 306 w 2772"/>
                <a:gd name="T109" fmla="*/ 1810 h 2759"/>
                <a:gd name="T110" fmla="*/ 501 w 2772"/>
                <a:gd name="T111" fmla="*/ 2305 h 2759"/>
                <a:gd name="T112" fmla="*/ 1138 w 2772"/>
                <a:gd name="T113" fmla="*/ 652 h 2759"/>
                <a:gd name="T114" fmla="*/ 1375 w 2772"/>
                <a:gd name="T115" fmla="*/ 984 h 2759"/>
                <a:gd name="T116" fmla="*/ 1299 w 2772"/>
                <a:gd name="T117" fmla="*/ 1500 h 2759"/>
                <a:gd name="T118" fmla="*/ 1206 w 2772"/>
                <a:gd name="T119" fmla="*/ 2002 h 2759"/>
                <a:gd name="T120" fmla="*/ 750 w 2772"/>
                <a:gd name="T121" fmla="*/ 2359 h 2759"/>
                <a:gd name="T122" fmla="*/ 740 w 2772"/>
                <a:gd name="T123" fmla="*/ 1977 h 2759"/>
                <a:gd name="T124" fmla="*/ 1107 w 2772"/>
                <a:gd name="T125" fmla="*/ 246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72" h="2759">
                  <a:moveTo>
                    <a:pt x="1406" y="117"/>
                  </a:moveTo>
                  <a:lnTo>
                    <a:pt x="1417" y="119"/>
                  </a:lnTo>
                  <a:lnTo>
                    <a:pt x="1427" y="121"/>
                  </a:lnTo>
                  <a:lnTo>
                    <a:pt x="1433" y="113"/>
                  </a:lnTo>
                  <a:lnTo>
                    <a:pt x="1440" y="106"/>
                  </a:lnTo>
                  <a:lnTo>
                    <a:pt x="1447" y="99"/>
                  </a:lnTo>
                  <a:lnTo>
                    <a:pt x="1455" y="93"/>
                  </a:lnTo>
                  <a:lnTo>
                    <a:pt x="1472" y="83"/>
                  </a:lnTo>
                  <a:lnTo>
                    <a:pt x="1489" y="74"/>
                  </a:lnTo>
                  <a:lnTo>
                    <a:pt x="1468" y="71"/>
                  </a:lnTo>
                  <a:lnTo>
                    <a:pt x="1448" y="69"/>
                  </a:lnTo>
                  <a:lnTo>
                    <a:pt x="1427" y="68"/>
                  </a:lnTo>
                  <a:lnTo>
                    <a:pt x="1406" y="68"/>
                  </a:lnTo>
                  <a:lnTo>
                    <a:pt x="1406" y="117"/>
                  </a:lnTo>
                  <a:close/>
                  <a:moveTo>
                    <a:pt x="1387" y="147"/>
                  </a:moveTo>
                  <a:lnTo>
                    <a:pt x="1375" y="147"/>
                  </a:lnTo>
                  <a:lnTo>
                    <a:pt x="1365" y="148"/>
                  </a:lnTo>
                  <a:lnTo>
                    <a:pt x="1354" y="150"/>
                  </a:lnTo>
                  <a:lnTo>
                    <a:pt x="1344" y="152"/>
                  </a:lnTo>
                  <a:lnTo>
                    <a:pt x="1336" y="154"/>
                  </a:lnTo>
                  <a:lnTo>
                    <a:pt x="1328" y="157"/>
                  </a:lnTo>
                  <a:lnTo>
                    <a:pt x="1320" y="160"/>
                  </a:lnTo>
                  <a:lnTo>
                    <a:pt x="1313" y="163"/>
                  </a:lnTo>
                  <a:lnTo>
                    <a:pt x="1307" y="167"/>
                  </a:lnTo>
                  <a:lnTo>
                    <a:pt x="1301" y="172"/>
                  </a:lnTo>
                  <a:lnTo>
                    <a:pt x="1297" y="176"/>
                  </a:lnTo>
                  <a:lnTo>
                    <a:pt x="1293" y="181"/>
                  </a:lnTo>
                  <a:lnTo>
                    <a:pt x="1290" y="185"/>
                  </a:lnTo>
                  <a:lnTo>
                    <a:pt x="1288" y="190"/>
                  </a:lnTo>
                  <a:lnTo>
                    <a:pt x="1286" y="195"/>
                  </a:lnTo>
                  <a:lnTo>
                    <a:pt x="1285" y="199"/>
                  </a:lnTo>
                  <a:lnTo>
                    <a:pt x="1285" y="205"/>
                  </a:lnTo>
                  <a:lnTo>
                    <a:pt x="1286" y="210"/>
                  </a:lnTo>
                  <a:lnTo>
                    <a:pt x="1288" y="214"/>
                  </a:lnTo>
                  <a:lnTo>
                    <a:pt x="1290" y="219"/>
                  </a:lnTo>
                  <a:lnTo>
                    <a:pt x="1293" y="223"/>
                  </a:lnTo>
                  <a:lnTo>
                    <a:pt x="1297" y="228"/>
                  </a:lnTo>
                  <a:lnTo>
                    <a:pt x="1301" y="231"/>
                  </a:lnTo>
                  <a:lnTo>
                    <a:pt x="1307" y="236"/>
                  </a:lnTo>
                  <a:lnTo>
                    <a:pt x="1314" y="240"/>
                  </a:lnTo>
                  <a:lnTo>
                    <a:pt x="1321" y="242"/>
                  </a:lnTo>
                  <a:lnTo>
                    <a:pt x="1329" y="245"/>
                  </a:lnTo>
                  <a:lnTo>
                    <a:pt x="1338" y="248"/>
                  </a:lnTo>
                  <a:lnTo>
                    <a:pt x="1349" y="249"/>
                  </a:lnTo>
                  <a:lnTo>
                    <a:pt x="1359" y="251"/>
                  </a:lnTo>
                  <a:lnTo>
                    <a:pt x="1372" y="251"/>
                  </a:lnTo>
                  <a:lnTo>
                    <a:pt x="1384" y="251"/>
                  </a:lnTo>
                  <a:lnTo>
                    <a:pt x="1397" y="251"/>
                  </a:lnTo>
                  <a:lnTo>
                    <a:pt x="1408" y="250"/>
                  </a:lnTo>
                  <a:lnTo>
                    <a:pt x="1419" y="249"/>
                  </a:lnTo>
                  <a:lnTo>
                    <a:pt x="1429" y="246"/>
                  </a:lnTo>
                  <a:lnTo>
                    <a:pt x="1438" y="244"/>
                  </a:lnTo>
                  <a:lnTo>
                    <a:pt x="1448" y="242"/>
                  </a:lnTo>
                  <a:lnTo>
                    <a:pt x="1455" y="238"/>
                  </a:lnTo>
                  <a:lnTo>
                    <a:pt x="1461" y="235"/>
                  </a:lnTo>
                  <a:lnTo>
                    <a:pt x="1467" y="230"/>
                  </a:lnTo>
                  <a:lnTo>
                    <a:pt x="1472" y="227"/>
                  </a:lnTo>
                  <a:lnTo>
                    <a:pt x="1476" y="222"/>
                  </a:lnTo>
                  <a:lnTo>
                    <a:pt x="1480" y="218"/>
                  </a:lnTo>
                  <a:lnTo>
                    <a:pt x="1482" y="213"/>
                  </a:lnTo>
                  <a:lnTo>
                    <a:pt x="1485" y="208"/>
                  </a:lnTo>
                  <a:lnTo>
                    <a:pt x="1486" y="204"/>
                  </a:lnTo>
                  <a:lnTo>
                    <a:pt x="1486" y="199"/>
                  </a:lnTo>
                  <a:lnTo>
                    <a:pt x="1485" y="195"/>
                  </a:lnTo>
                  <a:lnTo>
                    <a:pt x="1483" y="189"/>
                  </a:lnTo>
                  <a:lnTo>
                    <a:pt x="1481" y="184"/>
                  </a:lnTo>
                  <a:lnTo>
                    <a:pt x="1479" y="180"/>
                  </a:lnTo>
                  <a:lnTo>
                    <a:pt x="1475" y="175"/>
                  </a:lnTo>
                  <a:lnTo>
                    <a:pt x="1471" y="172"/>
                  </a:lnTo>
                  <a:lnTo>
                    <a:pt x="1465" y="167"/>
                  </a:lnTo>
                  <a:lnTo>
                    <a:pt x="1459" y="163"/>
                  </a:lnTo>
                  <a:lnTo>
                    <a:pt x="1452" y="160"/>
                  </a:lnTo>
                  <a:lnTo>
                    <a:pt x="1445" y="157"/>
                  </a:lnTo>
                  <a:lnTo>
                    <a:pt x="1437" y="154"/>
                  </a:lnTo>
                  <a:lnTo>
                    <a:pt x="1429" y="152"/>
                  </a:lnTo>
                  <a:lnTo>
                    <a:pt x="1419" y="150"/>
                  </a:lnTo>
                  <a:lnTo>
                    <a:pt x="1408" y="148"/>
                  </a:lnTo>
                  <a:lnTo>
                    <a:pt x="1398" y="147"/>
                  </a:lnTo>
                  <a:lnTo>
                    <a:pt x="1387" y="147"/>
                  </a:lnTo>
                  <a:close/>
                  <a:moveTo>
                    <a:pt x="1387" y="0"/>
                  </a:moveTo>
                  <a:lnTo>
                    <a:pt x="1476" y="3"/>
                  </a:lnTo>
                  <a:lnTo>
                    <a:pt x="1565" y="11"/>
                  </a:lnTo>
                  <a:lnTo>
                    <a:pt x="1652" y="26"/>
                  </a:lnTo>
                  <a:lnTo>
                    <a:pt x="1736" y="46"/>
                  </a:lnTo>
                  <a:lnTo>
                    <a:pt x="1817" y="70"/>
                  </a:lnTo>
                  <a:lnTo>
                    <a:pt x="1898" y="99"/>
                  </a:lnTo>
                  <a:lnTo>
                    <a:pt x="1975" y="134"/>
                  </a:lnTo>
                  <a:lnTo>
                    <a:pt x="2050" y="172"/>
                  </a:lnTo>
                  <a:lnTo>
                    <a:pt x="2122" y="214"/>
                  </a:lnTo>
                  <a:lnTo>
                    <a:pt x="2191" y="261"/>
                  </a:lnTo>
                  <a:lnTo>
                    <a:pt x="2256" y="312"/>
                  </a:lnTo>
                  <a:lnTo>
                    <a:pt x="2319" y="366"/>
                  </a:lnTo>
                  <a:lnTo>
                    <a:pt x="2377" y="424"/>
                  </a:lnTo>
                  <a:lnTo>
                    <a:pt x="2433" y="485"/>
                  </a:lnTo>
                  <a:lnTo>
                    <a:pt x="2484" y="549"/>
                  </a:lnTo>
                  <a:lnTo>
                    <a:pt x="2533" y="616"/>
                  </a:lnTo>
                  <a:lnTo>
                    <a:pt x="2577" y="685"/>
                  </a:lnTo>
                  <a:lnTo>
                    <a:pt x="2617" y="758"/>
                  </a:lnTo>
                  <a:lnTo>
                    <a:pt x="2653" y="832"/>
                  </a:lnTo>
                  <a:lnTo>
                    <a:pt x="2684" y="908"/>
                  </a:lnTo>
                  <a:lnTo>
                    <a:pt x="2711" y="986"/>
                  </a:lnTo>
                  <a:lnTo>
                    <a:pt x="2733" y="1066"/>
                  </a:lnTo>
                  <a:lnTo>
                    <a:pt x="2751" y="1147"/>
                  </a:lnTo>
                  <a:lnTo>
                    <a:pt x="2763" y="1229"/>
                  </a:lnTo>
                  <a:lnTo>
                    <a:pt x="2770" y="1313"/>
                  </a:lnTo>
                  <a:lnTo>
                    <a:pt x="2772" y="1397"/>
                  </a:lnTo>
                  <a:lnTo>
                    <a:pt x="2769" y="1483"/>
                  </a:lnTo>
                  <a:lnTo>
                    <a:pt x="2761" y="1568"/>
                  </a:lnTo>
                  <a:lnTo>
                    <a:pt x="2746" y="1653"/>
                  </a:lnTo>
                  <a:lnTo>
                    <a:pt x="2726" y="1738"/>
                  </a:lnTo>
                  <a:lnTo>
                    <a:pt x="2700" y="1824"/>
                  </a:lnTo>
                  <a:lnTo>
                    <a:pt x="2668" y="1909"/>
                  </a:lnTo>
                  <a:lnTo>
                    <a:pt x="2654" y="1940"/>
                  </a:lnTo>
                  <a:lnTo>
                    <a:pt x="2640" y="1971"/>
                  </a:lnTo>
                  <a:lnTo>
                    <a:pt x="2625" y="2002"/>
                  </a:lnTo>
                  <a:lnTo>
                    <a:pt x="2609" y="2032"/>
                  </a:lnTo>
                  <a:lnTo>
                    <a:pt x="2593" y="2062"/>
                  </a:lnTo>
                  <a:lnTo>
                    <a:pt x="2575" y="2091"/>
                  </a:lnTo>
                  <a:lnTo>
                    <a:pt x="2557" y="2120"/>
                  </a:lnTo>
                  <a:lnTo>
                    <a:pt x="2539" y="2149"/>
                  </a:lnTo>
                  <a:lnTo>
                    <a:pt x="2519" y="2176"/>
                  </a:lnTo>
                  <a:lnTo>
                    <a:pt x="2499" y="2204"/>
                  </a:lnTo>
                  <a:lnTo>
                    <a:pt x="2479" y="2230"/>
                  </a:lnTo>
                  <a:lnTo>
                    <a:pt x="2457" y="2257"/>
                  </a:lnTo>
                  <a:lnTo>
                    <a:pt x="2435" y="2283"/>
                  </a:lnTo>
                  <a:lnTo>
                    <a:pt x="2412" y="2309"/>
                  </a:lnTo>
                  <a:lnTo>
                    <a:pt x="2389" y="2333"/>
                  </a:lnTo>
                  <a:lnTo>
                    <a:pt x="2366" y="2357"/>
                  </a:lnTo>
                  <a:lnTo>
                    <a:pt x="2342" y="2381"/>
                  </a:lnTo>
                  <a:lnTo>
                    <a:pt x="2316" y="2404"/>
                  </a:lnTo>
                  <a:lnTo>
                    <a:pt x="2291" y="2426"/>
                  </a:lnTo>
                  <a:lnTo>
                    <a:pt x="2264" y="2448"/>
                  </a:lnTo>
                  <a:lnTo>
                    <a:pt x="2238" y="2470"/>
                  </a:lnTo>
                  <a:lnTo>
                    <a:pt x="2211" y="2490"/>
                  </a:lnTo>
                  <a:lnTo>
                    <a:pt x="2184" y="2510"/>
                  </a:lnTo>
                  <a:lnTo>
                    <a:pt x="2156" y="2529"/>
                  </a:lnTo>
                  <a:lnTo>
                    <a:pt x="2127" y="2547"/>
                  </a:lnTo>
                  <a:lnTo>
                    <a:pt x="2099" y="2566"/>
                  </a:lnTo>
                  <a:lnTo>
                    <a:pt x="2069" y="2583"/>
                  </a:lnTo>
                  <a:lnTo>
                    <a:pt x="2039" y="2599"/>
                  </a:lnTo>
                  <a:lnTo>
                    <a:pt x="2009" y="2615"/>
                  </a:lnTo>
                  <a:lnTo>
                    <a:pt x="1978" y="2630"/>
                  </a:lnTo>
                  <a:lnTo>
                    <a:pt x="1946" y="2644"/>
                  </a:lnTo>
                  <a:lnTo>
                    <a:pt x="1915" y="2658"/>
                  </a:lnTo>
                  <a:lnTo>
                    <a:pt x="1861" y="2679"/>
                  </a:lnTo>
                  <a:lnTo>
                    <a:pt x="1806" y="2697"/>
                  </a:lnTo>
                  <a:lnTo>
                    <a:pt x="1751" y="2713"/>
                  </a:lnTo>
                  <a:lnTo>
                    <a:pt x="1694" y="2727"/>
                  </a:lnTo>
                  <a:lnTo>
                    <a:pt x="1638" y="2738"/>
                  </a:lnTo>
                  <a:lnTo>
                    <a:pt x="1582" y="2748"/>
                  </a:lnTo>
                  <a:lnTo>
                    <a:pt x="1526" y="2753"/>
                  </a:lnTo>
                  <a:lnTo>
                    <a:pt x="1468" y="2758"/>
                  </a:lnTo>
                  <a:lnTo>
                    <a:pt x="1412" y="2759"/>
                  </a:lnTo>
                  <a:lnTo>
                    <a:pt x="1355" y="2759"/>
                  </a:lnTo>
                  <a:lnTo>
                    <a:pt x="1299" y="2756"/>
                  </a:lnTo>
                  <a:lnTo>
                    <a:pt x="1244" y="2751"/>
                  </a:lnTo>
                  <a:lnTo>
                    <a:pt x="1187" y="2744"/>
                  </a:lnTo>
                  <a:lnTo>
                    <a:pt x="1132" y="2734"/>
                  </a:lnTo>
                  <a:lnTo>
                    <a:pt x="1077" y="2722"/>
                  </a:lnTo>
                  <a:lnTo>
                    <a:pt x="1023" y="2708"/>
                  </a:lnTo>
                  <a:lnTo>
                    <a:pt x="968" y="2693"/>
                  </a:lnTo>
                  <a:lnTo>
                    <a:pt x="915" y="2675"/>
                  </a:lnTo>
                  <a:lnTo>
                    <a:pt x="864" y="2655"/>
                  </a:lnTo>
                  <a:lnTo>
                    <a:pt x="812" y="2634"/>
                  </a:lnTo>
                  <a:lnTo>
                    <a:pt x="761" y="2609"/>
                  </a:lnTo>
                  <a:lnTo>
                    <a:pt x="710" y="2583"/>
                  </a:lnTo>
                  <a:lnTo>
                    <a:pt x="662" y="2555"/>
                  </a:lnTo>
                  <a:lnTo>
                    <a:pt x="615" y="2526"/>
                  </a:lnTo>
                  <a:lnTo>
                    <a:pt x="568" y="2494"/>
                  </a:lnTo>
                  <a:lnTo>
                    <a:pt x="523" y="2461"/>
                  </a:lnTo>
                  <a:lnTo>
                    <a:pt x="479" y="2426"/>
                  </a:lnTo>
                  <a:lnTo>
                    <a:pt x="436" y="2388"/>
                  </a:lnTo>
                  <a:lnTo>
                    <a:pt x="396" y="2350"/>
                  </a:lnTo>
                  <a:lnTo>
                    <a:pt x="356" y="2310"/>
                  </a:lnTo>
                  <a:lnTo>
                    <a:pt x="318" y="2267"/>
                  </a:lnTo>
                  <a:lnTo>
                    <a:pt x="282" y="2223"/>
                  </a:lnTo>
                  <a:lnTo>
                    <a:pt x="261" y="2197"/>
                  </a:lnTo>
                  <a:lnTo>
                    <a:pt x="242" y="2169"/>
                  </a:lnTo>
                  <a:lnTo>
                    <a:pt x="222" y="2142"/>
                  </a:lnTo>
                  <a:lnTo>
                    <a:pt x="203" y="2113"/>
                  </a:lnTo>
                  <a:lnTo>
                    <a:pt x="186" y="2084"/>
                  </a:lnTo>
                  <a:lnTo>
                    <a:pt x="170" y="2055"/>
                  </a:lnTo>
                  <a:lnTo>
                    <a:pt x="154" y="2025"/>
                  </a:lnTo>
                  <a:lnTo>
                    <a:pt x="139" y="1995"/>
                  </a:lnTo>
                  <a:lnTo>
                    <a:pt x="124" y="1964"/>
                  </a:lnTo>
                  <a:lnTo>
                    <a:pt x="110" y="1933"/>
                  </a:lnTo>
                  <a:lnTo>
                    <a:pt x="98" y="1902"/>
                  </a:lnTo>
                  <a:lnTo>
                    <a:pt x="86" y="1871"/>
                  </a:lnTo>
                  <a:lnTo>
                    <a:pt x="74" y="1839"/>
                  </a:lnTo>
                  <a:lnTo>
                    <a:pt x="64" y="1806"/>
                  </a:lnTo>
                  <a:lnTo>
                    <a:pt x="54" y="1774"/>
                  </a:lnTo>
                  <a:lnTo>
                    <a:pt x="45" y="1742"/>
                  </a:lnTo>
                  <a:lnTo>
                    <a:pt x="36" y="1710"/>
                  </a:lnTo>
                  <a:lnTo>
                    <a:pt x="30" y="1676"/>
                  </a:lnTo>
                  <a:lnTo>
                    <a:pt x="23" y="1643"/>
                  </a:lnTo>
                  <a:lnTo>
                    <a:pt x="17" y="1609"/>
                  </a:lnTo>
                  <a:lnTo>
                    <a:pt x="12" y="1576"/>
                  </a:lnTo>
                  <a:lnTo>
                    <a:pt x="9" y="1543"/>
                  </a:lnTo>
                  <a:lnTo>
                    <a:pt x="5" y="1509"/>
                  </a:lnTo>
                  <a:lnTo>
                    <a:pt x="3" y="1475"/>
                  </a:lnTo>
                  <a:lnTo>
                    <a:pt x="1" y="1441"/>
                  </a:lnTo>
                  <a:lnTo>
                    <a:pt x="0" y="1408"/>
                  </a:lnTo>
                  <a:lnTo>
                    <a:pt x="0" y="1373"/>
                  </a:lnTo>
                  <a:lnTo>
                    <a:pt x="1" y="1340"/>
                  </a:lnTo>
                  <a:lnTo>
                    <a:pt x="2" y="1305"/>
                  </a:lnTo>
                  <a:lnTo>
                    <a:pt x="4" y="1272"/>
                  </a:lnTo>
                  <a:lnTo>
                    <a:pt x="8" y="1238"/>
                  </a:lnTo>
                  <a:lnTo>
                    <a:pt x="12" y="1205"/>
                  </a:lnTo>
                  <a:lnTo>
                    <a:pt x="20" y="1149"/>
                  </a:lnTo>
                  <a:lnTo>
                    <a:pt x="32" y="1094"/>
                  </a:lnTo>
                  <a:lnTo>
                    <a:pt x="45" y="1039"/>
                  </a:lnTo>
                  <a:lnTo>
                    <a:pt x="59" y="985"/>
                  </a:lnTo>
                  <a:lnTo>
                    <a:pt x="77" y="932"/>
                  </a:lnTo>
                  <a:lnTo>
                    <a:pt x="96" y="879"/>
                  </a:lnTo>
                  <a:lnTo>
                    <a:pt x="118" y="827"/>
                  </a:lnTo>
                  <a:lnTo>
                    <a:pt x="142" y="775"/>
                  </a:lnTo>
                  <a:lnTo>
                    <a:pt x="168" y="726"/>
                  </a:lnTo>
                  <a:lnTo>
                    <a:pt x="195" y="676"/>
                  </a:lnTo>
                  <a:lnTo>
                    <a:pt x="210" y="652"/>
                  </a:lnTo>
                  <a:lnTo>
                    <a:pt x="227" y="628"/>
                  </a:lnTo>
                  <a:lnTo>
                    <a:pt x="242" y="604"/>
                  </a:lnTo>
                  <a:lnTo>
                    <a:pt x="258" y="581"/>
                  </a:lnTo>
                  <a:lnTo>
                    <a:pt x="275" y="557"/>
                  </a:lnTo>
                  <a:lnTo>
                    <a:pt x="292" y="534"/>
                  </a:lnTo>
                  <a:lnTo>
                    <a:pt x="311" y="513"/>
                  </a:lnTo>
                  <a:lnTo>
                    <a:pt x="328" y="491"/>
                  </a:lnTo>
                  <a:lnTo>
                    <a:pt x="347" y="469"/>
                  </a:lnTo>
                  <a:lnTo>
                    <a:pt x="367" y="447"/>
                  </a:lnTo>
                  <a:lnTo>
                    <a:pt x="387" y="426"/>
                  </a:lnTo>
                  <a:lnTo>
                    <a:pt x="406" y="405"/>
                  </a:lnTo>
                  <a:lnTo>
                    <a:pt x="406" y="405"/>
                  </a:lnTo>
                  <a:lnTo>
                    <a:pt x="432" y="381"/>
                  </a:lnTo>
                  <a:lnTo>
                    <a:pt x="457" y="357"/>
                  </a:lnTo>
                  <a:lnTo>
                    <a:pt x="482" y="334"/>
                  </a:lnTo>
                  <a:lnTo>
                    <a:pt x="509" y="312"/>
                  </a:lnTo>
                  <a:lnTo>
                    <a:pt x="535" y="290"/>
                  </a:lnTo>
                  <a:lnTo>
                    <a:pt x="563" y="269"/>
                  </a:lnTo>
                  <a:lnTo>
                    <a:pt x="589" y="250"/>
                  </a:lnTo>
                  <a:lnTo>
                    <a:pt x="617" y="230"/>
                  </a:lnTo>
                  <a:lnTo>
                    <a:pt x="646" y="212"/>
                  </a:lnTo>
                  <a:lnTo>
                    <a:pt x="674" y="195"/>
                  </a:lnTo>
                  <a:lnTo>
                    <a:pt x="702" y="177"/>
                  </a:lnTo>
                  <a:lnTo>
                    <a:pt x="732" y="161"/>
                  </a:lnTo>
                  <a:lnTo>
                    <a:pt x="761" y="146"/>
                  </a:lnTo>
                  <a:lnTo>
                    <a:pt x="791" y="131"/>
                  </a:lnTo>
                  <a:lnTo>
                    <a:pt x="821" y="117"/>
                  </a:lnTo>
                  <a:lnTo>
                    <a:pt x="852" y="104"/>
                  </a:lnTo>
                  <a:lnTo>
                    <a:pt x="883" y="91"/>
                  </a:lnTo>
                  <a:lnTo>
                    <a:pt x="914" y="79"/>
                  </a:lnTo>
                  <a:lnTo>
                    <a:pt x="945" y="69"/>
                  </a:lnTo>
                  <a:lnTo>
                    <a:pt x="978" y="59"/>
                  </a:lnTo>
                  <a:lnTo>
                    <a:pt x="1010" y="49"/>
                  </a:lnTo>
                  <a:lnTo>
                    <a:pt x="1043" y="41"/>
                  </a:lnTo>
                  <a:lnTo>
                    <a:pt x="1076" y="33"/>
                  </a:lnTo>
                  <a:lnTo>
                    <a:pt x="1109" y="26"/>
                  </a:lnTo>
                  <a:lnTo>
                    <a:pt x="1142" y="21"/>
                  </a:lnTo>
                  <a:lnTo>
                    <a:pt x="1177" y="15"/>
                  </a:lnTo>
                  <a:lnTo>
                    <a:pt x="1210" y="10"/>
                  </a:lnTo>
                  <a:lnTo>
                    <a:pt x="1245" y="7"/>
                  </a:lnTo>
                  <a:lnTo>
                    <a:pt x="1279" y="4"/>
                  </a:lnTo>
                  <a:lnTo>
                    <a:pt x="1315" y="2"/>
                  </a:lnTo>
                  <a:lnTo>
                    <a:pt x="1351" y="1"/>
                  </a:lnTo>
                  <a:lnTo>
                    <a:pt x="1387" y="0"/>
                  </a:lnTo>
                  <a:close/>
                  <a:moveTo>
                    <a:pt x="2327" y="446"/>
                  </a:moveTo>
                  <a:lnTo>
                    <a:pt x="2314" y="432"/>
                  </a:lnTo>
                  <a:lnTo>
                    <a:pt x="2319" y="447"/>
                  </a:lnTo>
                  <a:lnTo>
                    <a:pt x="2322" y="462"/>
                  </a:lnTo>
                  <a:lnTo>
                    <a:pt x="2325" y="477"/>
                  </a:lnTo>
                  <a:lnTo>
                    <a:pt x="2328" y="492"/>
                  </a:lnTo>
                  <a:lnTo>
                    <a:pt x="2352" y="511"/>
                  </a:lnTo>
                  <a:lnTo>
                    <a:pt x="2375" y="532"/>
                  </a:lnTo>
                  <a:lnTo>
                    <a:pt x="2398" y="553"/>
                  </a:lnTo>
                  <a:lnTo>
                    <a:pt x="2421" y="574"/>
                  </a:lnTo>
                  <a:lnTo>
                    <a:pt x="2443" y="596"/>
                  </a:lnTo>
                  <a:lnTo>
                    <a:pt x="2464" y="619"/>
                  </a:lnTo>
                  <a:lnTo>
                    <a:pt x="2484" y="642"/>
                  </a:lnTo>
                  <a:lnTo>
                    <a:pt x="2505" y="665"/>
                  </a:lnTo>
                  <a:lnTo>
                    <a:pt x="2486" y="636"/>
                  </a:lnTo>
                  <a:lnTo>
                    <a:pt x="2465" y="607"/>
                  </a:lnTo>
                  <a:lnTo>
                    <a:pt x="2444" y="578"/>
                  </a:lnTo>
                  <a:lnTo>
                    <a:pt x="2422" y="551"/>
                  </a:lnTo>
                  <a:lnTo>
                    <a:pt x="2399" y="523"/>
                  </a:lnTo>
                  <a:lnTo>
                    <a:pt x="2376" y="496"/>
                  </a:lnTo>
                  <a:lnTo>
                    <a:pt x="2352" y="470"/>
                  </a:lnTo>
                  <a:lnTo>
                    <a:pt x="2327" y="446"/>
                  </a:lnTo>
                  <a:close/>
                  <a:moveTo>
                    <a:pt x="2203" y="336"/>
                  </a:moveTo>
                  <a:lnTo>
                    <a:pt x="2181" y="320"/>
                  </a:lnTo>
                  <a:lnTo>
                    <a:pt x="2158" y="302"/>
                  </a:lnTo>
                  <a:lnTo>
                    <a:pt x="2134" y="284"/>
                  </a:lnTo>
                  <a:lnTo>
                    <a:pt x="2109" y="267"/>
                  </a:lnTo>
                  <a:lnTo>
                    <a:pt x="2084" y="250"/>
                  </a:lnTo>
                  <a:lnTo>
                    <a:pt x="2058" y="235"/>
                  </a:lnTo>
                  <a:lnTo>
                    <a:pt x="2033" y="222"/>
                  </a:lnTo>
                  <a:lnTo>
                    <a:pt x="2008" y="212"/>
                  </a:lnTo>
                  <a:lnTo>
                    <a:pt x="2018" y="223"/>
                  </a:lnTo>
                  <a:lnTo>
                    <a:pt x="2029" y="237"/>
                  </a:lnTo>
                  <a:lnTo>
                    <a:pt x="2039" y="251"/>
                  </a:lnTo>
                  <a:lnTo>
                    <a:pt x="2048" y="265"/>
                  </a:lnTo>
                  <a:lnTo>
                    <a:pt x="2055" y="280"/>
                  </a:lnTo>
                  <a:lnTo>
                    <a:pt x="2062" y="295"/>
                  </a:lnTo>
                  <a:lnTo>
                    <a:pt x="2067" y="310"/>
                  </a:lnTo>
                  <a:lnTo>
                    <a:pt x="2071" y="327"/>
                  </a:lnTo>
                  <a:lnTo>
                    <a:pt x="2097" y="340"/>
                  </a:lnTo>
                  <a:lnTo>
                    <a:pt x="2123" y="354"/>
                  </a:lnTo>
                  <a:lnTo>
                    <a:pt x="2148" y="369"/>
                  </a:lnTo>
                  <a:lnTo>
                    <a:pt x="2173" y="384"/>
                  </a:lnTo>
                  <a:lnTo>
                    <a:pt x="2199" y="400"/>
                  </a:lnTo>
                  <a:lnTo>
                    <a:pt x="2224" y="416"/>
                  </a:lnTo>
                  <a:lnTo>
                    <a:pt x="2248" y="432"/>
                  </a:lnTo>
                  <a:lnTo>
                    <a:pt x="2271" y="449"/>
                  </a:lnTo>
                  <a:lnTo>
                    <a:pt x="2266" y="434"/>
                  </a:lnTo>
                  <a:lnTo>
                    <a:pt x="2259" y="418"/>
                  </a:lnTo>
                  <a:lnTo>
                    <a:pt x="2252" y="403"/>
                  </a:lnTo>
                  <a:lnTo>
                    <a:pt x="2244" y="389"/>
                  </a:lnTo>
                  <a:lnTo>
                    <a:pt x="2234" y="375"/>
                  </a:lnTo>
                  <a:lnTo>
                    <a:pt x="2224" y="362"/>
                  </a:lnTo>
                  <a:lnTo>
                    <a:pt x="2214" y="349"/>
                  </a:lnTo>
                  <a:lnTo>
                    <a:pt x="2203" y="336"/>
                  </a:lnTo>
                  <a:close/>
                  <a:moveTo>
                    <a:pt x="740" y="223"/>
                  </a:moveTo>
                  <a:lnTo>
                    <a:pt x="702" y="244"/>
                  </a:lnTo>
                  <a:lnTo>
                    <a:pt x="663" y="266"/>
                  </a:lnTo>
                  <a:lnTo>
                    <a:pt x="645" y="278"/>
                  </a:lnTo>
                  <a:lnTo>
                    <a:pt x="625" y="290"/>
                  </a:lnTo>
                  <a:lnTo>
                    <a:pt x="607" y="303"/>
                  </a:lnTo>
                  <a:lnTo>
                    <a:pt x="589" y="316"/>
                  </a:lnTo>
                  <a:lnTo>
                    <a:pt x="572" y="329"/>
                  </a:lnTo>
                  <a:lnTo>
                    <a:pt x="556" y="344"/>
                  </a:lnTo>
                  <a:lnTo>
                    <a:pt x="541" y="359"/>
                  </a:lnTo>
                  <a:lnTo>
                    <a:pt x="526" y="377"/>
                  </a:lnTo>
                  <a:lnTo>
                    <a:pt x="513" y="394"/>
                  </a:lnTo>
                  <a:lnTo>
                    <a:pt x="503" y="412"/>
                  </a:lnTo>
                  <a:lnTo>
                    <a:pt x="493" y="432"/>
                  </a:lnTo>
                  <a:lnTo>
                    <a:pt x="486" y="453"/>
                  </a:lnTo>
                  <a:lnTo>
                    <a:pt x="509" y="435"/>
                  </a:lnTo>
                  <a:lnTo>
                    <a:pt x="534" y="419"/>
                  </a:lnTo>
                  <a:lnTo>
                    <a:pt x="558" y="402"/>
                  </a:lnTo>
                  <a:lnTo>
                    <a:pt x="584" y="387"/>
                  </a:lnTo>
                  <a:lnTo>
                    <a:pt x="609" y="371"/>
                  </a:lnTo>
                  <a:lnTo>
                    <a:pt x="634" y="356"/>
                  </a:lnTo>
                  <a:lnTo>
                    <a:pt x="660" y="342"/>
                  </a:lnTo>
                  <a:lnTo>
                    <a:pt x="686" y="328"/>
                  </a:lnTo>
                  <a:lnTo>
                    <a:pt x="690" y="313"/>
                  </a:lnTo>
                  <a:lnTo>
                    <a:pt x="694" y="299"/>
                  </a:lnTo>
                  <a:lnTo>
                    <a:pt x="700" y="286"/>
                  </a:lnTo>
                  <a:lnTo>
                    <a:pt x="707" y="272"/>
                  </a:lnTo>
                  <a:lnTo>
                    <a:pt x="714" y="259"/>
                  </a:lnTo>
                  <a:lnTo>
                    <a:pt x="722" y="246"/>
                  </a:lnTo>
                  <a:lnTo>
                    <a:pt x="731" y="235"/>
                  </a:lnTo>
                  <a:lnTo>
                    <a:pt x="740" y="223"/>
                  </a:lnTo>
                  <a:close/>
                  <a:moveTo>
                    <a:pt x="439" y="453"/>
                  </a:moveTo>
                  <a:lnTo>
                    <a:pt x="400" y="493"/>
                  </a:lnTo>
                  <a:lnTo>
                    <a:pt x="364" y="534"/>
                  </a:lnTo>
                  <a:lnTo>
                    <a:pt x="346" y="555"/>
                  </a:lnTo>
                  <a:lnTo>
                    <a:pt x="329" y="577"/>
                  </a:lnTo>
                  <a:lnTo>
                    <a:pt x="312" y="599"/>
                  </a:lnTo>
                  <a:lnTo>
                    <a:pt x="296" y="622"/>
                  </a:lnTo>
                  <a:lnTo>
                    <a:pt x="328" y="589"/>
                  </a:lnTo>
                  <a:lnTo>
                    <a:pt x="361" y="556"/>
                  </a:lnTo>
                  <a:lnTo>
                    <a:pt x="395" y="525"/>
                  </a:lnTo>
                  <a:lnTo>
                    <a:pt x="429" y="496"/>
                  </a:lnTo>
                  <a:lnTo>
                    <a:pt x="432" y="485"/>
                  </a:lnTo>
                  <a:lnTo>
                    <a:pt x="433" y="475"/>
                  </a:lnTo>
                  <a:lnTo>
                    <a:pt x="435" y="463"/>
                  </a:lnTo>
                  <a:lnTo>
                    <a:pt x="439" y="453"/>
                  </a:lnTo>
                  <a:close/>
                  <a:moveTo>
                    <a:pt x="57" y="1450"/>
                  </a:moveTo>
                  <a:lnTo>
                    <a:pt x="65" y="1478"/>
                  </a:lnTo>
                  <a:lnTo>
                    <a:pt x="74" y="1506"/>
                  </a:lnTo>
                  <a:lnTo>
                    <a:pt x="87" y="1531"/>
                  </a:lnTo>
                  <a:lnTo>
                    <a:pt x="100" y="1556"/>
                  </a:lnTo>
                  <a:lnTo>
                    <a:pt x="115" y="1581"/>
                  </a:lnTo>
                  <a:lnTo>
                    <a:pt x="131" y="1605"/>
                  </a:lnTo>
                  <a:lnTo>
                    <a:pt x="149" y="1627"/>
                  </a:lnTo>
                  <a:lnTo>
                    <a:pt x="168" y="1649"/>
                  </a:lnTo>
                  <a:lnTo>
                    <a:pt x="171" y="1620"/>
                  </a:lnTo>
                  <a:lnTo>
                    <a:pt x="175" y="1592"/>
                  </a:lnTo>
                  <a:lnTo>
                    <a:pt x="179" y="1563"/>
                  </a:lnTo>
                  <a:lnTo>
                    <a:pt x="184" y="1536"/>
                  </a:lnTo>
                  <a:lnTo>
                    <a:pt x="190" y="1508"/>
                  </a:lnTo>
                  <a:lnTo>
                    <a:pt x="195" y="1480"/>
                  </a:lnTo>
                  <a:lnTo>
                    <a:pt x="202" y="1453"/>
                  </a:lnTo>
                  <a:lnTo>
                    <a:pt x="210" y="1425"/>
                  </a:lnTo>
                  <a:lnTo>
                    <a:pt x="227" y="1371"/>
                  </a:lnTo>
                  <a:lnTo>
                    <a:pt x="245" y="1317"/>
                  </a:lnTo>
                  <a:lnTo>
                    <a:pt x="266" y="1264"/>
                  </a:lnTo>
                  <a:lnTo>
                    <a:pt x="288" y="1211"/>
                  </a:lnTo>
                  <a:lnTo>
                    <a:pt x="273" y="1197"/>
                  </a:lnTo>
                  <a:lnTo>
                    <a:pt x="259" y="1182"/>
                  </a:lnTo>
                  <a:lnTo>
                    <a:pt x="246" y="1167"/>
                  </a:lnTo>
                  <a:lnTo>
                    <a:pt x="233" y="1151"/>
                  </a:lnTo>
                  <a:lnTo>
                    <a:pt x="222" y="1135"/>
                  </a:lnTo>
                  <a:lnTo>
                    <a:pt x="210" y="1119"/>
                  </a:lnTo>
                  <a:lnTo>
                    <a:pt x="199" y="1101"/>
                  </a:lnTo>
                  <a:lnTo>
                    <a:pt x="190" y="1084"/>
                  </a:lnTo>
                  <a:lnTo>
                    <a:pt x="180" y="1067"/>
                  </a:lnTo>
                  <a:lnTo>
                    <a:pt x="171" y="1048"/>
                  </a:lnTo>
                  <a:lnTo>
                    <a:pt x="163" y="1030"/>
                  </a:lnTo>
                  <a:lnTo>
                    <a:pt x="156" y="1011"/>
                  </a:lnTo>
                  <a:lnTo>
                    <a:pt x="151" y="992"/>
                  </a:lnTo>
                  <a:lnTo>
                    <a:pt x="145" y="972"/>
                  </a:lnTo>
                  <a:lnTo>
                    <a:pt x="141" y="953"/>
                  </a:lnTo>
                  <a:lnTo>
                    <a:pt x="138" y="933"/>
                  </a:lnTo>
                  <a:lnTo>
                    <a:pt x="125" y="963"/>
                  </a:lnTo>
                  <a:lnTo>
                    <a:pt x="114" y="993"/>
                  </a:lnTo>
                  <a:lnTo>
                    <a:pt x="103" y="1024"/>
                  </a:lnTo>
                  <a:lnTo>
                    <a:pt x="94" y="1056"/>
                  </a:lnTo>
                  <a:lnTo>
                    <a:pt x="86" y="1089"/>
                  </a:lnTo>
                  <a:lnTo>
                    <a:pt x="79" y="1121"/>
                  </a:lnTo>
                  <a:lnTo>
                    <a:pt x="72" y="1154"/>
                  </a:lnTo>
                  <a:lnTo>
                    <a:pt x="68" y="1187"/>
                  </a:lnTo>
                  <a:lnTo>
                    <a:pt x="63" y="1220"/>
                  </a:lnTo>
                  <a:lnTo>
                    <a:pt x="59" y="1253"/>
                  </a:lnTo>
                  <a:lnTo>
                    <a:pt x="57" y="1287"/>
                  </a:lnTo>
                  <a:lnTo>
                    <a:pt x="56" y="1320"/>
                  </a:lnTo>
                  <a:lnTo>
                    <a:pt x="55" y="1354"/>
                  </a:lnTo>
                  <a:lnTo>
                    <a:pt x="55" y="1386"/>
                  </a:lnTo>
                  <a:lnTo>
                    <a:pt x="55" y="1418"/>
                  </a:lnTo>
                  <a:lnTo>
                    <a:pt x="57" y="1450"/>
                  </a:lnTo>
                  <a:close/>
                  <a:moveTo>
                    <a:pt x="71" y="1586"/>
                  </a:moveTo>
                  <a:lnTo>
                    <a:pt x="79" y="1636"/>
                  </a:lnTo>
                  <a:lnTo>
                    <a:pt x="91" y="1685"/>
                  </a:lnTo>
                  <a:lnTo>
                    <a:pt x="102" y="1734"/>
                  </a:lnTo>
                  <a:lnTo>
                    <a:pt x="117" y="1781"/>
                  </a:lnTo>
                  <a:lnTo>
                    <a:pt x="133" y="1828"/>
                  </a:lnTo>
                  <a:lnTo>
                    <a:pt x="151" y="1875"/>
                  </a:lnTo>
                  <a:lnTo>
                    <a:pt x="170" y="1922"/>
                  </a:lnTo>
                  <a:lnTo>
                    <a:pt x="192" y="1967"/>
                  </a:lnTo>
                  <a:lnTo>
                    <a:pt x="184" y="1934"/>
                  </a:lnTo>
                  <a:lnTo>
                    <a:pt x="178" y="1901"/>
                  </a:lnTo>
                  <a:lnTo>
                    <a:pt x="172" y="1869"/>
                  </a:lnTo>
                  <a:lnTo>
                    <a:pt x="169" y="1835"/>
                  </a:lnTo>
                  <a:lnTo>
                    <a:pt x="165" y="1802"/>
                  </a:lnTo>
                  <a:lnTo>
                    <a:pt x="164" y="1768"/>
                  </a:lnTo>
                  <a:lnTo>
                    <a:pt x="164" y="1735"/>
                  </a:lnTo>
                  <a:lnTo>
                    <a:pt x="164" y="1702"/>
                  </a:lnTo>
                  <a:lnTo>
                    <a:pt x="139" y="1675"/>
                  </a:lnTo>
                  <a:lnTo>
                    <a:pt x="114" y="1647"/>
                  </a:lnTo>
                  <a:lnTo>
                    <a:pt x="102" y="1632"/>
                  </a:lnTo>
                  <a:lnTo>
                    <a:pt x="92" y="1617"/>
                  </a:lnTo>
                  <a:lnTo>
                    <a:pt x="80" y="1602"/>
                  </a:lnTo>
                  <a:lnTo>
                    <a:pt x="71" y="1586"/>
                  </a:lnTo>
                  <a:close/>
                  <a:moveTo>
                    <a:pt x="965" y="2638"/>
                  </a:moveTo>
                  <a:lnTo>
                    <a:pt x="1016" y="2654"/>
                  </a:lnTo>
                  <a:lnTo>
                    <a:pt x="1065" y="2668"/>
                  </a:lnTo>
                  <a:lnTo>
                    <a:pt x="1117" y="2680"/>
                  </a:lnTo>
                  <a:lnTo>
                    <a:pt x="1168" y="2689"/>
                  </a:lnTo>
                  <a:lnTo>
                    <a:pt x="1220" y="2696"/>
                  </a:lnTo>
                  <a:lnTo>
                    <a:pt x="1271" y="2702"/>
                  </a:lnTo>
                  <a:lnTo>
                    <a:pt x="1323" y="2705"/>
                  </a:lnTo>
                  <a:lnTo>
                    <a:pt x="1375" y="2706"/>
                  </a:lnTo>
                  <a:lnTo>
                    <a:pt x="1375" y="2703"/>
                  </a:lnTo>
                  <a:lnTo>
                    <a:pt x="1324" y="2700"/>
                  </a:lnTo>
                  <a:lnTo>
                    <a:pt x="1273" y="2697"/>
                  </a:lnTo>
                  <a:lnTo>
                    <a:pt x="1222" y="2692"/>
                  </a:lnTo>
                  <a:lnTo>
                    <a:pt x="1171" y="2685"/>
                  </a:lnTo>
                  <a:lnTo>
                    <a:pt x="1120" y="2676"/>
                  </a:lnTo>
                  <a:lnTo>
                    <a:pt x="1070" y="2666"/>
                  </a:lnTo>
                  <a:lnTo>
                    <a:pt x="1020" y="2654"/>
                  </a:lnTo>
                  <a:lnTo>
                    <a:pt x="971" y="2640"/>
                  </a:lnTo>
                  <a:lnTo>
                    <a:pt x="971" y="2640"/>
                  </a:lnTo>
                  <a:lnTo>
                    <a:pt x="965" y="2638"/>
                  </a:lnTo>
                  <a:close/>
                  <a:moveTo>
                    <a:pt x="1414" y="2706"/>
                  </a:moveTo>
                  <a:lnTo>
                    <a:pt x="1437" y="2706"/>
                  </a:lnTo>
                  <a:lnTo>
                    <a:pt x="1460" y="2705"/>
                  </a:lnTo>
                  <a:lnTo>
                    <a:pt x="1483" y="2703"/>
                  </a:lnTo>
                  <a:lnTo>
                    <a:pt x="1505" y="2702"/>
                  </a:lnTo>
                  <a:lnTo>
                    <a:pt x="1528" y="2699"/>
                  </a:lnTo>
                  <a:lnTo>
                    <a:pt x="1551" y="2697"/>
                  </a:lnTo>
                  <a:lnTo>
                    <a:pt x="1573" y="2693"/>
                  </a:lnTo>
                  <a:lnTo>
                    <a:pt x="1595" y="2690"/>
                  </a:lnTo>
                  <a:lnTo>
                    <a:pt x="1573" y="2693"/>
                  </a:lnTo>
                  <a:lnTo>
                    <a:pt x="1550" y="2696"/>
                  </a:lnTo>
                  <a:lnTo>
                    <a:pt x="1527" y="2698"/>
                  </a:lnTo>
                  <a:lnTo>
                    <a:pt x="1505" y="2699"/>
                  </a:lnTo>
                  <a:lnTo>
                    <a:pt x="1482" y="2700"/>
                  </a:lnTo>
                  <a:lnTo>
                    <a:pt x="1459" y="2702"/>
                  </a:lnTo>
                  <a:lnTo>
                    <a:pt x="1437" y="2703"/>
                  </a:lnTo>
                  <a:lnTo>
                    <a:pt x="1414" y="2703"/>
                  </a:lnTo>
                  <a:lnTo>
                    <a:pt x="1414" y="2706"/>
                  </a:lnTo>
                  <a:close/>
                  <a:moveTo>
                    <a:pt x="2567" y="1991"/>
                  </a:moveTo>
                  <a:lnTo>
                    <a:pt x="2580" y="1968"/>
                  </a:lnTo>
                  <a:lnTo>
                    <a:pt x="2593" y="1942"/>
                  </a:lnTo>
                  <a:lnTo>
                    <a:pt x="2607" y="1916"/>
                  </a:lnTo>
                  <a:lnTo>
                    <a:pt x="2619" y="1888"/>
                  </a:lnTo>
                  <a:lnTo>
                    <a:pt x="2632" y="1861"/>
                  </a:lnTo>
                  <a:lnTo>
                    <a:pt x="2642" y="1833"/>
                  </a:lnTo>
                  <a:lnTo>
                    <a:pt x="2647" y="1819"/>
                  </a:lnTo>
                  <a:lnTo>
                    <a:pt x="2650" y="1806"/>
                  </a:lnTo>
                  <a:lnTo>
                    <a:pt x="2653" y="1794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0"/>
                  </a:lnTo>
                  <a:lnTo>
                    <a:pt x="2655" y="1780"/>
                  </a:lnTo>
                  <a:lnTo>
                    <a:pt x="2655" y="1780"/>
                  </a:lnTo>
                  <a:lnTo>
                    <a:pt x="2656" y="1770"/>
                  </a:lnTo>
                  <a:lnTo>
                    <a:pt x="2658" y="1770"/>
                  </a:lnTo>
                  <a:lnTo>
                    <a:pt x="2666" y="1743"/>
                  </a:lnTo>
                  <a:lnTo>
                    <a:pt x="2675" y="1717"/>
                  </a:lnTo>
                  <a:lnTo>
                    <a:pt x="2681" y="1689"/>
                  </a:lnTo>
                  <a:lnTo>
                    <a:pt x="2687" y="1662"/>
                  </a:lnTo>
                  <a:lnTo>
                    <a:pt x="2693" y="1635"/>
                  </a:lnTo>
                  <a:lnTo>
                    <a:pt x="2698" y="1608"/>
                  </a:lnTo>
                  <a:lnTo>
                    <a:pt x="2702" y="1581"/>
                  </a:lnTo>
                  <a:lnTo>
                    <a:pt x="2706" y="1553"/>
                  </a:lnTo>
                  <a:lnTo>
                    <a:pt x="2695" y="1572"/>
                  </a:lnTo>
                  <a:lnTo>
                    <a:pt x="2683" y="1592"/>
                  </a:lnTo>
                  <a:lnTo>
                    <a:pt x="2670" y="1611"/>
                  </a:lnTo>
                  <a:lnTo>
                    <a:pt x="2656" y="1629"/>
                  </a:lnTo>
                  <a:lnTo>
                    <a:pt x="2642" y="1646"/>
                  </a:lnTo>
                  <a:lnTo>
                    <a:pt x="2627" y="1662"/>
                  </a:lnTo>
                  <a:lnTo>
                    <a:pt x="2611" y="1678"/>
                  </a:lnTo>
                  <a:lnTo>
                    <a:pt x="2595" y="1695"/>
                  </a:lnTo>
                  <a:lnTo>
                    <a:pt x="2596" y="1734"/>
                  </a:lnTo>
                  <a:lnTo>
                    <a:pt x="2596" y="1774"/>
                  </a:lnTo>
                  <a:lnTo>
                    <a:pt x="2594" y="1813"/>
                  </a:lnTo>
                  <a:lnTo>
                    <a:pt x="2590" y="1852"/>
                  </a:lnTo>
                  <a:lnTo>
                    <a:pt x="2586" y="1892"/>
                  </a:lnTo>
                  <a:lnTo>
                    <a:pt x="2579" y="1931"/>
                  </a:lnTo>
                  <a:lnTo>
                    <a:pt x="2570" y="1970"/>
                  </a:lnTo>
                  <a:lnTo>
                    <a:pt x="2558" y="2008"/>
                  </a:lnTo>
                  <a:lnTo>
                    <a:pt x="2563" y="1998"/>
                  </a:lnTo>
                  <a:lnTo>
                    <a:pt x="2567" y="1991"/>
                  </a:lnTo>
                  <a:close/>
                  <a:moveTo>
                    <a:pt x="2717" y="1381"/>
                  </a:moveTo>
                  <a:lnTo>
                    <a:pt x="2717" y="1351"/>
                  </a:lnTo>
                  <a:lnTo>
                    <a:pt x="2716" y="1321"/>
                  </a:lnTo>
                  <a:lnTo>
                    <a:pt x="2715" y="1293"/>
                  </a:lnTo>
                  <a:lnTo>
                    <a:pt x="2713" y="1264"/>
                  </a:lnTo>
                  <a:lnTo>
                    <a:pt x="2709" y="1235"/>
                  </a:lnTo>
                  <a:lnTo>
                    <a:pt x="2706" y="1206"/>
                  </a:lnTo>
                  <a:lnTo>
                    <a:pt x="2701" y="1177"/>
                  </a:lnTo>
                  <a:lnTo>
                    <a:pt x="2695" y="1149"/>
                  </a:lnTo>
                  <a:lnTo>
                    <a:pt x="2690" y="1120"/>
                  </a:lnTo>
                  <a:lnTo>
                    <a:pt x="2683" y="1092"/>
                  </a:lnTo>
                  <a:lnTo>
                    <a:pt x="2676" y="1064"/>
                  </a:lnTo>
                  <a:lnTo>
                    <a:pt x="2666" y="1037"/>
                  </a:lnTo>
                  <a:lnTo>
                    <a:pt x="2657" y="1009"/>
                  </a:lnTo>
                  <a:lnTo>
                    <a:pt x="2648" y="981"/>
                  </a:lnTo>
                  <a:lnTo>
                    <a:pt x="2637" y="954"/>
                  </a:lnTo>
                  <a:lnTo>
                    <a:pt x="2625" y="926"/>
                  </a:lnTo>
                  <a:lnTo>
                    <a:pt x="2622" y="947"/>
                  </a:lnTo>
                  <a:lnTo>
                    <a:pt x="2617" y="968"/>
                  </a:lnTo>
                  <a:lnTo>
                    <a:pt x="2612" y="988"/>
                  </a:lnTo>
                  <a:lnTo>
                    <a:pt x="2605" y="1008"/>
                  </a:lnTo>
                  <a:lnTo>
                    <a:pt x="2599" y="1028"/>
                  </a:lnTo>
                  <a:lnTo>
                    <a:pt x="2590" y="1046"/>
                  </a:lnTo>
                  <a:lnTo>
                    <a:pt x="2582" y="1064"/>
                  </a:lnTo>
                  <a:lnTo>
                    <a:pt x="2572" y="1083"/>
                  </a:lnTo>
                  <a:lnTo>
                    <a:pt x="2563" y="1101"/>
                  </a:lnTo>
                  <a:lnTo>
                    <a:pt x="2551" y="1119"/>
                  </a:lnTo>
                  <a:lnTo>
                    <a:pt x="2540" y="1136"/>
                  </a:lnTo>
                  <a:lnTo>
                    <a:pt x="2527" y="1152"/>
                  </a:lnTo>
                  <a:lnTo>
                    <a:pt x="2514" y="1168"/>
                  </a:lnTo>
                  <a:lnTo>
                    <a:pt x="2501" y="1184"/>
                  </a:lnTo>
                  <a:lnTo>
                    <a:pt x="2487" y="1199"/>
                  </a:lnTo>
                  <a:lnTo>
                    <a:pt x="2472" y="1214"/>
                  </a:lnTo>
                  <a:lnTo>
                    <a:pt x="2494" y="1266"/>
                  </a:lnTo>
                  <a:lnTo>
                    <a:pt x="2514" y="1318"/>
                  </a:lnTo>
                  <a:lnTo>
                    <a:pt x="2532" y="1371"/>
                  </a:lnTo>
                  <a:lnTo>
                    <a:pt x="2548" y="1424"/>
                  </a:lnTo>
                  <a:lnTo>
                    <a:pt x="2563" y="1478"/>
                  </a:lnTo>
                  <a:lnTo>
                    <a:pt x="2574" y="1532"/>
                  </a:lnTo>
                  <a:lnTo>
                    <a:pt x="2580" y="1560"/>
                  </a:lnTo>
                  <a:lnTo>
                    <a:pt x="2584" y="1587"/>
                  </a:lnTo>
                  <a:lnTo>
                    <a:pt x="2588" y="1615"/>
                  </a:lnTo>
                  <a:lnTo>
                    <a:pt x="2590" y="1643"/>
                  </a:lnTo>
                  <a:lnTo>
                    <a:pt x="2603" y="1629"/>
                  </a:lnTo>
                  <a:lnTo>
                    <a:pt x="2616" y="1615"/>
                  </a:lnTo>
                  <a:lnTo>
                    <a:pt x="2627" y="1600"/>
                  </a:lnTo>
                  <a:lnTo>
                    <a:pt x="2639" y="1585"/>
                  </a:lnTo>
                  <a:lnTo>
                    <a:pt x="2649" y="1570"/>
                  </a:lnTo>
                  <a:lnTo>
                    <a:pt x="2658" y="1554"/>
                  </a:lnTo>
                  <a:lnTo>
                    <a:pt x="2668" y="1538"/>
                  </a:lnTo>
                  <a:lnTo>
                    <a:pt x="2677" y="1522"/>
                  </a:lnTo>
                  <a:lnTo>
                    <a:pt x="2684" y="1506"/>
                  </a:lnTo>
                  <a:lnTo>
                    <a:pt x="2692" y="1488"/>
                  </a:lnTo>
                  <a:lnTo>
                    <a:pt x="2698" y="1471"/>
                  </a:lnTo>
                  <a:lnTo>
                    <a:pt x="2703" y="1454"/>
                  </a:lnTo>
                  <a:lnTo>
                    <a:pt x="2708" y="1437"/>
                  </a:lnTo>
                  <a:lnTo>
                    <a:pt x="2711" y="1418"/>
                  </a:lnTo>
                  <a:lnTo>
                    <a:pt x="2715" y="1400"/>
                  </a:lnTo>
                  <a:lnTo>
                    <a:pt x="2717" y="1381"/>
                  </a:lnTo>
                  <a:close/>
                  <a:moveTo>
                    <a:pt x="1466" y="134"/>
                  </a:moveTo>
                  <a:lnTo>
                    <a:pt x="1474" y="135"/>
                  </a:lnTo>
                  <a:lnTo>
                    <a:pt x="1493" y="134"/>
                  </a:lnTo>
                  <a:lnTo>
                    <a:pt x="1516" y="131"/>
                  </a:lnTo>
                  <a:lnTo>
                    <a:pt x="1542" y="128"/>
                  </a:lnTo>
                  <a:lnTo>
                    <a:pt x="1594" y="122"/>
                  </a:lnTo>
                  <a:lnTo>
                    <a:pt x="1626" y="119"/>
                  </a:lnTo>
                  <a:lnTo>
                    <a:pt x="1616" y="113"/>
                  </a:lnTo>
                  <a:lnTo>
                    <a:pt x="1605" y="108"/>
                  </a:lnTo>
                  <a:lnTo>
                    <a:pt x="1595" y="105"/>
                  </a:lnTo>
                  <a:lnTo>
                    <a:pt x="1585" y="101"/>
                  </a:lnTo>
                  <a:lnTo>
                    <a:pt x="1574" y="99"/>
                  </a:lnTo>
                  <a:lnTo>
                    <a:pt x="1564" y="98"/>
                  </a:lnTo>
                  <a:lnTo>
                    <a:pt x="1554" y="97"/>
                  </a:lnTo>
                  <a:lnTo>
                    <a:pt x="1543" y="97"/>
                  </a:lnTo>
                  <a:lnTo>
                    <a:pt x="1533" y="98"/>
                  </a:lnTo>
                  <a:lnTo>
                    <a:pt x="1523" y="100"/>
                  </a:lnTo>
                  <a:lnTo>
                    <a:pt x="1513" y="104"/>
                  </a:lnTo>
                  <a:lnTo>
                    <a:pt x="1503" y="107"/>
                  </a:lnTo>
                  <a:lnTo>
                    <a:pt x="1494" y="112"/>
                  </a:lnTo>
                  <a:lnTo>
                    <a:pt x="1483" y="119"/>
                  </a:lnTo>
                  <a:lnTo>
                    <a:pt x="1474" y="125"/>
                  </a:lnTo>
                  <a:lnTo>
                    <a:pt x="1466" y="134"/>
                  </a:lnTo>
                  <a:close/>
                  <a:moveTo>
                    <a:pt x="1669" y="98"/>
                  </a:moveTo>
                  <a:lnTo>
                    <a:pt x="1683" y="106"/>
                  </a:lnTo>
                  <a:lnTo>
                    <a:pt x="1696" y="112"/>
                  </a:lnTo>
                  <a:lnTo>
                    <a:pt x="1710" y="115"/>
                  </a:lnTo>
                  <a:lnTo>
                    <a:pt x="1724" y="119"/>
                  </a:lnTo>
                  <a:lnTo>
                    <a:pt x="1753" y="121"/>
                  </a:lnTo>
                  <a:lnTo>
                    <a:pt x="1784" y="123"/>
                  </a:lnTo>
                  <a:lnTo>
                    <a:pt x="1755" y="116"/>
                  </a:lnTo>
                  <a:lnTo>
                    <a:pt x="1726" y="109"/>
                  </a:lnTo>
                  <a:lnTo>
                    <a:pt x="1698" y="104"/>
                  </a:lnTo>
                  <a:lnTo>
                    <a:pt x="1669" y="98"/>
                  </a:lnTo>
                  <a:close/>
                  <a:moveTo>
                    <a:pt x="1563" y="161"/>
                  </a:moveTo>
                  <a:lnTo>
                    <a:pt x="1600" y="166"/>
                  </a:lnTo>
                  <a:lnTo>
                    <a:pt x="1635" y="172"/>
                  </a:lnTo>
                  <a:lnTo>
                    <a:pt x="1671" y="180"/>
                  </a:lnTo>
                  <a:lnTo>
                    <a:pt x="1707" y="188"/>
                  </a:lnTo>
                  <a:lnTo>
                    <a:pt x="1701" y="178"/>
                  </a:lnTo>
                  <a:lnTo>
                    <a:pt x="1694" y="172"/>
                  </a:lnTo>
                  <a:lnTo>
                    <a:pt x="1687" y="165"/>
                  </a:lnTo>
                  <a:lnTo>
                    <a:pt x="1679" y="160"/>
                  </a:lnTo>
                  <a:lnTo>
                    <a:pt x="1671" y="157"/>
                  </a:lnTo>
                  <a:lnTo>
                    <a:pt x="1663" y="154"/>
                  </a:lnTo>
                  <a:lnTo>
                    <a:pt x="1654" y="153"/>
                  </a:lnTo>
                  <a:lnTo>
                    <a:pt x="1645" y="152"/>
                  </a:lnTo>
                  <a:lnTo>
                    <a:pt x="1604" y="155"/>
                  </a:lnTo>
                  <a:lnTo>
                    <a:pt x="1563" y="161"/>
                  </a:lnTo>
                  <a:close/>
                  <a:moveTo>
                    <a:pt x="1913" y="184"/>
                  </a:moveTo>
                  <a:lnTo>
                    <a:pt x="1891" y="180"/>
                  </a:lnTo>
                  <a:lnTo>
                    <a:pt x="1869" y="175"/>
                  </a:lnTo>
                  <a:lnTo>
                    <a:pt x="1846" y="170"/>
                  </a:lnTo>
                  <a:lnTo>
                    <a:pt x="1824" y="167"/>
                  </a:lnTo>
                  <a:lnTo>
                    <a:pt x="1802" y="165"/>
                  </a:lnTo>
                  <a:lnTo>
                    <a:pt x="1779" y="162"/>
                  </a:lnTo>
                  <a:lnTo>
                    <a:pt x="1756" y="160"/>
                  </a:lnTo>
                  <a:lnTo>
                    <a:pt x="1735" y="159"/>
                  </a:lnTo>
                  <a:lnTo>
                    <a:pt x="1740" y="168"/>
                  </a:lnTo>
                  <a:lnTo>
                    <a:pt x="1746" y="178"/>
                  </a:lnTo>
                  <a:lnTo>
                    <a:pt x="1751" y="190"/>
                  </a:lnTo>
                  <a:lnTo>
                    <a:pt x="1754" y="200"/>
                  </a:lnTo>
                  <a:lnTo>
                    <a:pt x="1789" y="211"/>
                  </a:lnTo>
                  <a:lnTo>
                    <a:pt x="1822" y="222"/>
                  </a:lnTo>
                  <a:lnTo>
                    <a:pt x="1857" y="234"/>
                  </a:lnTo>
                  <a:lnTo>
                    <a:pt x="1890" y="246"/>
                  </a:lnTo>
                  <a:lnTo>
                    <a:pt x="1925" y="259"/>
                  </a:lnTo>
                  <a:lnTo>
                    <a:pt x="1957" y="273"/>
                  </a:lnTo>
                  <a:lnTo>
                    <a:pt x="1990" y="288"/>
                  </a:lnTo>
                  <a:lnTo>
                    <a:pt x="2023" y="303"/>
                  </a:lnTo>
                  <a:lnTo>
                    <a:pt x="2014" y="284"/>
                  </a:lnTo>
                  <a:lnTo>
                    <a:pt x="2003" y="267"/>
                  </a:lnTo>
                  <a:lnTo>
                    <a:pt x="1990" y="251"/>
                  </a:lnTo>
                  <a:lnTo>
                    <a:pt x="1976" y="236"/>
                  </a:lnTo>
                  <a:lnTo>
                    <a:pt x="1963" y="221"/>
                  </a:lnTo>
                  <a:lnTo>
                    <a:pt x="1946" y="208"/>
                  </a:lnTo>
                  <a:lnTo>
                    <a:pt x="1930" y="196"/>
                  </a:lnTo>
                  <a:lnTo>
                    <a:pt x="1913" y="184"/>
                  </a:lnTo>
                  <a:close/>
                  <a:moveTo>
                    <a:pt x="1520" y="197"/>
                  </a:moveTo>
                  <a:lnTo>
                    <a:pt x="1521" y="199"/>
                  </a:lnTo>
                  <a:lnTo>
                    <a:pt x="1521" y="203"/>
                  </a:lnTo>
                  <a:lnTo>
                    <a:pt x="1543" y="212"/>
                  </a:lnTo>
                  <a:lnTo>
                    <a:pt x="1566" y="221"/>
                  </a:lnTo>
                  <a:lnTo>
                    <a:pt x="1588" y="231"/>
                  </a:lnTo>
                  <a:lnTo>
                    <a:pt x="1610" y="242"/>
                  </a:lnTo>
                  <a:lnTo>
                    <a:pt x="1652" y="264"/>
                  </a:lnTo>
                  <a:lnTo>
                    <a:pt x="1693" y="289"/>
                  </a:lnTo>
                  <a:lnTo>
                    <a:pt x="1699" y="282"/>
                  </a:lnTo>
                  <a:lnTo>
                    <a:pt x="1703" y="276"/>
                  </a:lnTo>
                  <a:lnTo>
                    <a:pt x="1707" y="269"/>
                  </a:lnTo>
                  <a:lnTo>
                    <a:pt x="1710" y="261"/>
                  </a:lnTo>
                  <a:lnTo>
                    <a:pt x="1714" y="254"/>
                  </a:lnTo>
                  <a:lnTo>
                    <a:pt x="1716" y="248"/>
                  </a:lnTo>
                  <a:lnTo>
                    <a:pt x="1717" y="240"/>
                  </a:lnTo>
                  <a:lnTo>
                    <a:pt x="1718" y="231"/>
                  </a:lnTo>
                  <a:lnTo>
                    <a:pt x="1694" y="225"/>
                  </a:lnTo>
                  <a:lnTo>
                    <a:pt x="1670" y="219"/>
                  </a:lnTo>
                  <a:lnTo>
                    <a:pt x="1645" y="213"/>
                  </a:lnTo>
                  <a:lnTo>
                    <a:pt x="1620" y="208"/>
                  </a:lnTo>
                  <a:lnTo>
                    <a:pt x="1595" y="204"/>
                  </a:lnTo>
                  <a:lnTo>
                    <a:pt x="1571" y="200"/>
                  </a:lnTo>
                  <a:lnTo>
                    <a:pt x="1546" y="198"/>
                  </a:lnTo>
                  <a:lnTo>
                    <a:pt x="1520" y="197"/>
                  </a:lnTo>
                  <a:close/>
                  <a:moveTo>
                    <a:pt x="2590" y="858"/>
                  </a:moveTo>
                  <a:lnTo>
                    <a:pt x="2578" y="836"/>
                  </a:lnTo>
                  <a:lnTo>
                    <a:pt x="2565" y="813"/>
                  </a:lnTo>
                  <a:lnTo>
                    <a:pt x="2551" y="793"/>
                  </a:lnTo>
                  <a:lnTo>
                    <a:pt x="2536" y="771"/>
                  </a:lnTo>
                  <a:lnTo>
                    <a:pt x="2521" y="750"/>
                  </a:lnTo>
                  <a:lnTo>
                    <a:pt x="2506" y="729"/>
                  </a:lnTo>
                  <a:lnTo>
                    <a:pt x="2491" y="710"/>
                  </a:lnTo>
                  <a:lnTo>
                    <a:pt x="2475" y="690"/>
                  </a:lnTo>
                  <a:lnTo>
                    <a:pt x="2441" y="651"/>
                  </a:lnTo>
                  <a:lnTo>
                    <a:pt x="2406" y="614"/>
                  </a:lnTo>
                  <a:lnTo>
                    <a:pt x="2369" y="578"/>
                  </a:lnTo>
                  <a:lnTo>
                    <a:pt x="2330" y="545"/>
                  </a:lnTo>
                  <a:lnTo>
                    <a:pt x="2329" y="562"/>
                  </a:lnTo>
                  <a:lnTo>
                    <a:pt x="2327" y="578"/>
                  </a:lnTo>
                  <a:lnTo>
                    <a:pt x="2323" y="594"/>
                  </a:lnTo>
                  <a:lnTo>
                    <a:pt x="2320" y="610"/>
                  </a:lnTo>
                  <a:lnTo>
                    <a:pt x="2314" y="627"/>
                  </a:lnTo>
                  <a:lnTo>
                    <a:pt x="2308" y="642"/>
                  </a:lnTo>
                  <a:lnTo>
                    <a:pt x="2301" y="658"/>
                  </a:lnTo>
                  <a:lnTo>
                    <a:pt x="2293" y="672"/>
                  </a:lnTo>
                  <a:lnTo>
                    <a:pt x="2285" y="687"/>
                  </a:lnTo>
                  <a:lnTo>
                    <a:pt x="2276" y="700"/>
                  </a:lnTo>
                  <a:lnTo>
                    <a:pt x="2267" y="714"/>
                  </a:lnTo>
                  <a:lnTo>
                    <a:pt x="2256" y="728"/>
                  </a:lnTo>
                  <a:lnTo>
                    <a:pt x="2246" y="741"/>
                  </a:lnTo>
                  <a:lnTo>
                    <a:pt x="2234" y="752"/>
                  </a:lnTo>
                  <a:lnTo>
                    <a:pt x="2223" y="765"/>
                  </a:lnTo>
                  <a:lnTo>
                    <a:pt x="2210" y="776"/>
                  </a:lnTo>
                  <a:lnTo>
                    <a:pt x="2246" y="824"/>
                  </a:lnTo>
                  <a:lnTo>
                    <a:pt x="2279" y="871"/>
                  </a:lnTo>
                  <a:lnTo>
                    <a:pt x="2312" y="920"/>
                  </a:lnTo>
                  <a:lnTo>
                    <a:pt x="2344" y="970"/>
                  </a:lnTo>
                  <a:lnTo>
                    <a:pt x="2374" y="1021"/>
                  </a:lnTo>
                  <a:lnTo>
                    <a:pt x="2403" y="1071"/>
                  </a:lnTo>
                  <a:lnTo>
                    <a:pt x="2429" y="1123"/>
                  </a:lnTo>
                  <a:lnTo>
                    <a:pt x="2455" y="1176"/>
                  </a:lnTo>
                  <a:lnTo>
                    <a:pt x="2471" y="1160"/>
                  </a:lnTo>
                  <a:lnTo>
                    <a:pt x="2484" y="1143"/>
                  </a:lnTo>
                  <a:lnTo>
                    <a:pt x="2498" y="1125"/>
                  </a:lnTo>
                  <a:lnTo>
                    <a:pt x="2512" y="1107"/>
                  </a:lnTo>
                  <a:lnTo>
                    <a:pt x="2524" y="1089"/>
                  </a:lnTo>
                  <a:lnTo>
                    <a:pt x="2535" y="1070"/>
                  </a:lnTo>
                  <a:lnTo>
                    <a:pt x="2546" y="1051"/>
                  </a:lnTo>
                  <a:lnTo>
                    <a:pt x="2555" y="1031"/>
                  </a:lnTo>
                  <a:lnTo>
                    <a:pt x="2563" y="1010"/>
                  </a:lnTo>
                  <a:lnTo>
                    <a:pt x="2570" y="990"/>
                  </a:lnTo>
                  <a:lnTo>
                    <a:pt x="2577" y="969"/>
                  </a:lnTo>
                  <a:lnTo>
                    <a:pt x="2581" y="947"/>
                  </a:lnTo>
                  <a:lnTo>
                    <a:pt x="2586" y="925"/>
                  </a:lnTo>
                  <a:lnTo>
                    <a:pt x="2588" y="903"/>
                  </a:lnTo>
                  <a:lnTo>
                    <a:pt x="2590" y="881"/>
                  </a:lnTo>
                  <a:lnTo>
                    <a:pt x="2590" y="858"/>
                  </a:lnTo>
                  <a:close/>
                  <a:moveTo>
                    <a:pt x="2284" y="507"/>
                  </a:moveTo>
                  <a:lnTo>
                    <a:pt x="2259" y="488"/>
                  </a:lnTo>
                  <a:lnTo>
                    <a:pt x="2233" y="470"/>
                  </a:lnTo>
                  <a:lnTo>
                    <a:pt x="2208" y="453"/>
                  </a:lnTo>
                  <a:lnTo>
                    <a:pt x="2181" y="435"/>
                  </a:lnTo>
                  <a:lnTo>
                    <a:pt x="2155" y="418"/>
                  </a:lnTo>
                  <a:lnTo>
                    <a:pt x="2128" y="403"/>
                  </a:lnTo>
                  <a:lnTo>
                    <a:pt x="2102" y="387"/>
                  </a:lnTo>
                  <a:lnTo>
                    <a:pt x="2074" y="372"/>
                  </a:lnTo>
                  <a:lnTo>
                    <a:pt x="2073" y="384"/>
                  </a:lnTo>
                  <a:lnTo>
                    <a:pt x="2072" y="395"/>
                  </a:lnTo>
                  <a:lnTo>
                    <a:pt x="2070" y="405"/>
                  </a:lnTo>
                  <a:lnTo>
                    <a:pt x="2066" y="417"/>
                  </a:lnTo>
                  <a:lnTo>
                    <a:pt x="2063" y="427"/>
                  </a:lnTo>
                  <a:lnTo>
                    <a:pt x="2058" y="438"/>
                  </a:lnTo>
                  <a:lnTo>
                    <a:pt x="2054" y="448"/>
                  </a:lnTo>
                  <a:lnTo>
                    <a:pt x="2049" y="458"/>
                  </a:lnTo>
                  <a:lnTo>
                    <a:pt x="2036" y="477"/>
                  </a:lnTo>
                  <a:lnTo>
                    <a:pt x="2024" y="495"/>
                  </a:lnTo>
                  <a:lnTo>
                    <a:pt x="2009" y="513"/>
                  </a:lnTo>
                  <a:lnTo>
                    <a:pt x="1993" y="529"/>
                  </a:lnTo>
                  <a:lnTo>
                    <a:pt x="2018" y="553"/>
                  </a:lnTo>
                  <a:lnTo>
                    <a:pt x="2042" y="579"/>
                  </a:lnTo>
                  <a:lnTo>
                    <a:pt x="2066" y="605"/>
                  </a:lnTo>
                  <a:lnTo>
                    <a:pt x="2090" y="631"/>
                  </a:lnTo>
                  <a:lnTo>
                    <a:pt x="2115" y="658"/>
                  </a:lnTo>
                  <a:lnTo>
                    <a:pt x="2138" y="685"/>
                  </a:lnTo>
                  <a:lnTo>
                    <a:pt x="2161" y="713"/>
                  </a:lnTo>
                  <a:lnTo>
                    <a:pt x="2183" y="741"/>
                  </a:lnTo>
                  <a:lnTo>
                    <a:pt x="2194" y="728"/>
                  </a:lnTo>
                  <a:lnTo>
                    <a:pt x="2206" y="716"/>
                  </a:lnTo>
                  <a:lnTo>
                    <a:pt x="2217" y="704"/>
                  </a:lnTo>
                  <a:lnTo>
                    <a:pt x="2228" y="691"/>
                  </a:lnTo>
                  <a:lnTo>
                    <a:pt x="2237" y="677"/>
                  </a:lnTo>
                  <a:lnTo>
                    <a:pt x="2246" y="663"/>
                  </a:lnTo>
                  <a:lnTo>
                    <a:pt x="2254" y="650"/>
                  </a:lnTo>
                  <a:lnTo>
                    <a:pt x="2261" y="635"/>
                  </a:lnTo>
                  <a:lnTo>
                    <a:pt x="2268" y="620"/>
                  </a:lnTo>
                  <a:lnTo>
                    <a:pt x="2274" y="605"/>
                  </a:lnTo>
                  <a:lnTo>
                    <a:pt x="2277" y="590"/>
                  </a:lnTo>
                  <a:lnTo>
                    <a:pt x="2281" y="574"/>
                  </a:lnTo>
                  <a:lnTo>
                    <a:pt x="2284" y="557"/>
                  </a:lnTo>
                  <a:lnTo>
                    <a:pt x="2285" y="541"/>
                  </a:lnTo>
                  <a:lnTo>
                    <a:pt x="2285" y="524"/>
                  </a:lnTo>
                  <a:lnTo>
                    <a:pt x="2284" y="507"/>
                  </a:lnTo>
                  <a:close/>
                  <a:moveTo>
                    <a:pt x="2035" y="352"/>
                  </a:moveTo>
                  <a:lnTo>
                    <a:pt x="2002" y="335"/>
                  </a:lnTo>
                  <a:lnTo>
                    <a:pt x="1967" y="320"/>
                  </a:lnTo>
                  <a:lnTo>
                    <a:pt x="1933" y="305"/>
                  </a:lnTo>
                  <a:lnTo>
                    <a:pt x="1898" y="291"/>
                  </a:lnTo>
                  <a:lnTo>
                    <a:pt x="1864" y="278"/>
                  </a:lnTo>
                  <a:lnTo>
                    <a:pt x="1828" y="265"/>
                  </a:lnTo>
                  <a:lnTo>
                    <a:pt x="1792" y="253"/>
                  </a:lnTo>
                  <a:lnTo>
                    <a:pt x="1756" y="242"/>
                  </a:lnTo>
                  <a:lnTo>
                    <a:pt x="1755" y="251"/>
                  </a:lnTo>
                  <a:lnTo>
                    <a:pt x="1753" y="260"/>
                  </a:lnTo>
                  <a:lnTo>
                    <a:pt x="1749" y="269"/>
                  </a:lnTo>
                  <a:lnTo>
                    <a:pt x="1746" y="278"/>
                  </a:lnTo>
                  <a:lnTo>
                    <a:pt x="1741" y="287"/>
                  </a:lnTo>
                  <a:lnTo>
                    <a:pt x="1737" y="295"/>
                  </a:lnTo>
                  <a:lnTo>
                    <a:pt x="1732" y="302"/>
                  </a:lnTo>
                  <a:lnTo>
                    <a:pt x="1726" y="310"/>
                  </a:lnTo>
                  <a:lnTo>
                    <a:pt x="1758" y="332"/>
                  </a:lnTo>
                  <a:lnTo>
                    <a:pt x="1789" y="354"/>
                  </a:lnTo>
                  <a:lnTo>
                    <a:pt x="1820" y="377"/>
                  </a:lnTo>
                  <a:lnTo>
                    <a:pt x="1850" y="401"/>
                  </a:lnTo>
                  <a:lnTo>
                    <a:pt x="1879" y="425"/>
                  </a:lnTo>
                  <a:lnTo>
                    <a:pt x="1908" y="449"/>
                  </a:lnTo>
                  <a:lnTo>
                    <a:pt x="1936" y="476"/>
                  </a:lnTo>
                  <a:lnTo>
                    <a:pt x="1964" y="501"/>
                  </a:lnTo>
                  <a:lnTo>
                    <a:pt x="1979" y="486"/>
                  </a:lnTo>
                  <a:lnTo>
                    <a:pt x="1994" y="470"/>
                  </a:lnTo>
                  <a:lnTo>
                    <a:pt x="2006" y="453"/>
                  </a:lnTo>
                  <a:lnTo>
                    <a:pt x="2017" y="434"/>
                  </a:lnTo>
                  <a:lnTo>
                    <a:pt x="2021" y="425"/>
                  </a:lnTo>
                  <a:lnTo>
                    <a:pt x="2026" y="416"/>
                  </a:lnTo>
                  <a:lnTo>
                    <a:pt x="2029" y="405"/>
                  </a:lnTo>
                  <a:lnTo>
                    <a:pt x="2032" y="395"/>
                  </a:lnTo>
                  <a:lnTo>
                    <a:pt x="2034" y="385"/>
                  </a:lnTo>
                  <a:lnTo>
                    <a:pt x="2035" y="374"/>
                  </a:lnTo>
                  <a:lnTo>
                    <a:pt x="2035" y="363"/>
                  </a:lnTo>
                  <a:lnTo>
                    <a:pt x="2035" y="352"/>
                  </a:lnTo>
                  <a:close/>
                  <a:moveTo>
                    <a:pt x="1511" y="241"/>
                  </a:moveTo>
                  <a:lnTo>
                    <a:pt x="1503" y="251"/>
                  </a:lnTo>
                  <a:lnTo>
                    <a:pt x="1495" y="259"/>
                  </a:lnTo>
                  <a:lnTo>
                    <a:pt x="1517" y="283"/>
                  </a:lnTo>
                  <a:lnTo>
                    <a:pt x="1538" y="309"/>
                  </a:lnTo>
                  <a:lnTo>
                    <a:pt x="1557" y="335"/>
                  </a:lnTo>
                  <a:lnTo>
                    <a:pt x="1577" y="360"/>
                  </a:lnTo>
                  <a:lnTo>
                    <a:pt x="1600" y="352"/>
                  </a:lnTo>
                  <a:lnTo>
                    <a:pt x="1622" y="342"/>
                  </a:lnTo>
                  <a:lnTo>
                    <a:pt x="1643" y="329"/>
                  </a:lnTo>
                  <a:lnTo>
                    <a:pt x="1664" y="317"/>
                  </a:lnTo>
                  <a:lnTo>
                    <a:pt x="1627" y="295"/>
                  </a:lnTo>
                  <a:lnTo>
                    <a:pt x="1589" y="275"/>
                  </a:lnTo>
                  <a:lnTo>
                    <a:pt x="1570" y="266"/>
                  </a:lnTo>
                  <a:lnTo>
                    <a:pt x="1550" y="257"/>
                  </a:lnTo>
                  <a:lnTo>
                    <a:pt x="1531" y="249"/>
                  </a:lnTo>
                  <a:lnTo>
                    <a:pt x="1511" y="241"/>
                  </a:lnTo>
                  <a:close/>
                  <a:moveTo>
                    <a:pt x="2372" y="2265"/>
                  </a:moveTo>
                  <a:lnTo>
                    <a:pt x="2381" y="2255"/>
                  </a:lnTo>
                  <a:lnTo>
                    <a:pt x="2389" y="2244"/>
                  </a:lnTo>
                  <a:lnTo>
                    <a:pt x="2397" y="2234"/>
                  </a:lnTo>
                  <a:lnTo>
                    <a:pt x="2405" y="2223"/>
                  </a:lnTo>
                  <a:lnTo>
                    <a:pt x="2384" y="2237"/>
                  </a:lnTo>
                  <a:lnTo>
                    <a:pt x="2362" y="2250"/>
                  </a:lnTo>
                  <a:lnTo>
                    <a:pt x="2340" y="2264"/>
                  </a:lnTo>
                  <a:lnTo>
                    <a:pt x="2319" y="2276"/>
                  </a:lnTo>
                  <a:lnTo>
                    <a:pt x="2274" y="2299"/>
                  </a:lnTo>
                  <a:lnTo>
                    <a:pt x="2229" y="2321"/>
                  </a:lnTo>
                  <a:lnTo>
                    <a:pt x="2181" y="2341"/>
                  </a:lnTo>
                  <a:lnTo>
                    <a:pt x="2134" y="2359"/>
                  </a:lnTo>
                  <a:lnTo>
                    <a:pt x="2087" y="2377"/>
                  </a:lnTo>
                  <a:lnTo>
                    <a:pt x="2039" y="2392"/>
                  </a:lnTo>
                  <a:lnTo>
                    <a:pt x="2031" y="2414"/>
                  </a:lnTo>
                  <a:lnTo>
                    <a:pt x="2021" y="2434"/>
                  </a:lnTo>
                  <a:lnTo>
                    <a:pt x="2012" y="2455"/>
                  </a:lnTo>
                  <a:lnTo>
                    <a:pt x="2003" y="2476"/>
                  </a:lnTo>
                  <a:lnTo>
                    <a:pt x="1991" y="2495"/>
                  </a:lnTo>
                  <a:lnTo>
                    <a:pt x="1980" y="2515"/>
                  </a:lnTo>
                  <a:lnTo>
                    <a:pt x="1968" y="2535"/>
                  </a:lnTo>
                  <a:lnTo>
                    <a:pt x="1956" y="2553"/>
                  </a:lnTo>
                  <a:lnTo>
                    <a:pt x="1984" y="2540"/>
                  </a:lnTo>
                  <a:lnTo>
                    <a:pt x="2013" y="2526"/>
                  </a:lnTo>
                  <a:lnTo>
                    <a:pt x="2042" y="2511"/>
                  </a:lnTo>
                  <a:lnTo>
                    <a:pt x="2070" y="2496"/>
                  </a:lnTo>
                  <a:lnTo>
                    <a:pt x="2097" y="2482"/>
                  </a:lnTo>
                  <a:lnTo>
                    <a:pt x="2125" y="2464"/>
                  </a:lnTo>
                  <a:lnTo>
                    <a:pt x="2152" y="2448"/>
                  </a:lnTo>
                  <a:lnTo>
                    <a:pt x="2178" y="2430"/>
                  </a:lnTo>
                  <a:lnTo>
                    <a:pt x="2205" y="2411"/>
                  </a:lnTo>
                  <a:lnTo>
                    <a:pt x="2230" y="2393"/>
                  </a:lnTo>
                  <a:lnTo>
                    <a:pt x="2255" y="2373"/>
                  </a:lnTo>
                  <a:lnTo>
                    <a:pt x="2279" y="2352"/>
                  </a:lnTo>
                  <a:lnTo>
                    <a:pt x="2304" y="2332"/>
                  </a:lnTo>
                  <a:lnTo>
                    <a:pt x="2327" y="2310"/>
                  </a:lnTo>
                  <a:lnTo>
                    <a:pt x="2350" y="2288"/>
                  </a:lnTo>
                  <a:lnTo>
                    <a:pt x="2372" y="2265"/>
                  </a:lnTo>
                  <a:close/>
                  <a:moveTo>
                    <a:pt x="2468" y="2124"/>
                  </a:moveTo>
                  <a:lnTo>
                    <a:pt x="2480" y="2101"/>
                  </a:lnTo>
                  <a:lnTo>
                    <a:pt x="2490" y="2077"/>
                  </a:lnTo>
                  <a:lnTo>
                    <a:pt x="2501" y="2054"/>
                  </a:lnTo>
                  <a:lnTo>
                    <a:pt x="2510" y="2030"/>
                  </a:lnTo>
                  <a:lnTo>
                    <a:pt x="2518" y="2006"/>
                  </a:lnTo>
                  <a:lnTo>
                    <a:pt x="2526" y="1981"/>
                  </a:lnTo>
                  <a:lnTo>
                    <a:pt x="2532" y="1956"/>
                  </a:lnTo>
                  <a:lnTo>
                    <a:pt x="2539" y="1932"/>
                  </a:lnTo>
                  <a:lnTo>
                    <a:pt x="2543" y="1907"/>
                  </a:lnTo>
                  <a:lnTo>
                    <a:pt x="2548" y="1881"/>
                  </a:lnTo>
                  <a:lnTo>
                    <a:pt x="2551" y="1856"/>
                  </a:lnTo>
                  <a:lnTo>
                    <a:pt x="2554" y="1831"/>
                  </a:lnTo>
                  <a:lnTo>
                    <a:pt x="2556" y="1805"/>
                  </a:lnTo>
                  <a:lnTo>
                    <a:pt x="2557" y="1779"/>
                  </a:lnTo>
                  <a:lnTo>
                    <a:pt x="2557" y="1753"/>
                  </a:lnTo>
                  <a:lnTo>
                    <a:pt x="2557" y="1728"/>
                  </a:lnTo>
                  <a:lnTo>
                    <a:pt x="2532" y="1748"/>
                  </a:lnTo>
                  <a:lnTo>
                    <a:pt x="2506" y="1766"/>
                  </a:lnTo>
                  <a:lnTo>
                    <a:pt x="2480" y="1784"/>
                  </a:lnTo>
                  <a:lnTo>
                    <a:pt x="2452" y="1802"/>
                  </a:lnTo>
                  <a:lnTo>
                    <a:pt x="2425" y="1818"/>
                  </a:lnTo>
                  <a:lnTo>
                    <a:pt x="2396" y="1833"/>
                  </a:lnTo>
                  <a:lnTo>
                    <a:pt x="2368" y="1848"/>
                  </a:lnTo>
                  <a:lnTo>
                    <a:pt x="2338" y="1862"/>
                  </a:lnTo>
                  <a:lnTo>
                    <a:pt x="2309" y="1875"/>
                  </a:lnTo>
                  <a:lnTo>
                    <a:pt x="2279" y="1888"/>
                  </a:lnTo>
                  <a:lnTo>
                    <a:pt x="2249" y="1900"/>
                  </a:lnTo>
                  <a:lnTo>
                    <a:pt x="2219" y="1911"/>
                  </a:lnTo>
                  <a:lnTo>
                    <a:pt x="2158" y="1932"/>
                  </a:lnTo>
                  <a:lnTo>
                    <a:pt x="2096" y="1950"/>
                  </a:lnTo>
                  <a:lnTo>
                    <a:pt x="2097" y="2000"/>
                  </a:lnTo>
                  <a:lnTo>
                    <a:pt x="2096" y="2049"/>
                  </a:lnTo>
                  <a:lnTo>
                    <a:pt x="2094" y="2100"/>
                  </a:lnTo>
                  <a:lnTo>
                    <a:pt x="2090" y="2150"/>
                  </a:lnTo>
                  <a:lnTo>
                    <a:pt x="2085" y="2199"/>
                  </a:lnTo>
                  <a:lnTo>
                    <a:pt x="2077" y="2249"/>
                  </a:lnTo>
                  <a:lnTo>
                    <a:pt x="2071" y="2274"/>
                  </a:lnTo>
                  <a:lnTo>
                    <a:pt x="2066" y="2298"/>
                  </a:lnTo>
                  <a:lnTo>
                    <a:pt x="2059" y="2323"/>
                  </a:lnTo>
                  <a:lnTo>
                    <a:pt x="2052" y="2347"/>
                  </a:lnTo>
                  <a:lnTo>
                    <a:pt x="2109" y="2327"/>
                  </a:lnTo>
                  <a:lnTo>
                    <a:pt x="2164" y="2306"/>
                  </a:lnTo>
                  <a:lnTo>
                    <a:pt x="2192" y="2295"/>
                  </a:lnTo>
                  <a:lnTo>
                    <a:pt x="2219" y="2282"/>
                  </a:lnTo>
                  <a:lnTo>
                    <a:pt x="2246" y="2271"/>
                  </a:lnTo>
                  <a:lnTo>
                    <a:pt x="2272" y="2257"/>
                  </a:lnTo>
                  <a:lnTo>
                    <a:pt x="2299" y="2243"/>
                  </a:lnTo>
                  <a:lnTo>
                    <a:pt x="2324" y="2228"/>
                  </a:lnTo>
                  <a:lnTo>
                    <a:pt x="2350" y="2213"/>
                  </a:lnTo>
                  <a:lnTo>
                    <a:pt x="2375" y="2197"/>
                  </a:lnTo>
                  <a:lnTo>
                    <a:pt x="2399" y="2180"/>
                  </a:lnTo>
                  <a:lnTo>
                    <a:pt x="2422" y="2162"/>
                  </a:lnTo>
                  <a:lnTo>
                    <a:pt x="2445" y="2144"/>
                  </a:lnTo>
                  <a:lnTo>
                    <a:pt x="2468" y="2124"/>
                  </a:lnTo>
                  <a:close/>
                  <a:moveTo>
                    <a:pt x="2555" y="1677"/>
                  </a:moveTo>
                  <a:lnTo>
                    <a:pt x="2552" y="1650"/>
                  </a:lnTo>
                  <a:lnTo>
                    <a:pt x="2549" y="1621"/>
                  </a:lnTo>
                  <a:lnTo>
                    <a:pt x="2546" y="1593"/>
                  </a:lnTo>
                  <a:lnTo>
                    <a:pt x="2541" y="1566"/>
                  </a:lnTo>
                  <a:lnTo>
                    <a:pt x="2536" y="1538"/>
                  </a:lnTo>
                  <a:lnTo>
                    <a:pt x="2531" y="1510"/>
                  </a:lnTo>
                  <a:lnTo>
                    <a:pt x="2524" y="1483"/>
                  </a:lnTo>
                  <a:lnTo>
                    <a:pt x="2517" y="1455"/>
                  </a:lnTo>
                  <a:lnTo>
                    <a:pt x="2501" y="1401"/>
                  </a:lnTo>
                  <a:lnTo>
                    <a:pt x="2483" y="1347"/>
                  </a:lnTo>
                  <a:lnTo>
                    <a:pt x="2464" y="1295"/>
                  </a:lnTo>
                  <a:lnTo>
                    <a:pt x="2442" y="1242"/>
                  </a:lnTo>
                  <a:lnTo>
                    <a:pt x="2420" y="1260"/>
                  </a:lnTo>
                  <a:lnTo>
                    <a:pt x="2397" y="1279"/>
                  </a:lnTo>
                  <a:lnTo>
                    <a:pt x="2373" y="1295"/>
                  </a:lnTo>
                  <a:lnTo>
                    <a:pt x="2349" y="1311"/>
                  </a:lnTo>
                  <a:lnTo>
                    <a:pt x="2324" y="1327"/>
                  </a:lnTo>
                  <a:lnTo>
                    <a:pt x="2299" y="1341"/>
                  </a:lnTo>
                  <a:lnTo>
                    <a:pt x="2274" y="1355"/>
                  </a:lnTo>
                  <a:lnTo>
                    <a:pt x="2247" y="1369"/>
                  </a:lnTo>
                  <a:lnTo>
                    <a:pt x="2221" y="1381"/>
                  </a:lnTo>
                  <a:lnTo>
                    <a:pt x="2194" y="1393"/>
                  </a:lnTo>
                  <a:lnTo>
                    <a:pt x="2168" y="1404"/>
                  </a:lnTo>
                  <a:lnTo>
                    <a:pt x="2140" y="1415"/>
                  </a:lnTo>
                  <a:lnTo>
                    <a:pt x="2086" y="1434"/>
                  </a:lnTo>
                  <a:lnTo>
                    <a:pt x="2031" y="1452"/>
                  </a:lnTo>
                  <a:lnTo>
                    <a:pt x="2043" y="1508"/>
                  </a:lnTo>
                  <a:lnTo>
                    <a:pt x="2054" y="1566"/>
                  </a:lnTo>
                  <a:lnTo>
                    <a:pt x="2064" y="1622"/>
                  </a:lnTo>
                  <a:lnTo>
                    <a:pt x="2073" y="1680"/>
                  </a:lnTo>
                  <a:lnTo>
                    <a:pt x="2080" y="1737"/>
                  </a:lnTo>
                  <a:lnTo>
                    <a:pt x="2087" y="1795"/>
                  </a:lnTo>
                  <a:lnTo>
                    <a:pt x="2092" y="1852"/>
                  </a:lnTo>
                  <a:lnTo>
                    <a:pt x="2095" y="1910"/>
                  </a:lnTo>
                  <a:lnTo>
                    <a:pt x="2157" y="1890"/>
                  </a:lnTo>
                  <a:lnTo>
                    <a:pt x="2218" y="1870"/>
                  </a:lnTo>
                  <a:lnTo>
                    <a:pt x="2248" y="1858"/>
                  </a:lnTo>
                  <a:lnTo>
                    <a:pt x="2278" y="1846"/>
                  </a:lnTo>
                  <a:lnTo>
                    <a:pt x="2308" y="1833"/>
                  </a:lnTo>
                  <a:lnTo>
                    <a:pt x="2338" y="1819"/>
                  </a:lnTo>
                  <a:lnTo>
                    <a:pt x="2367" y="1804"/>
                  </a:lnTo>
                  <a:lnTo>
                    <a:pt x="2396" y="1789"/>
                  </a:lnTo>
                  <a:lnTo>
                    <a:pt x="2425" y="1773"/>
                  </a:lnTo>
                  <a:lnTo>
                    <a:pt x="2452" y="1756"/>
                  </a:lnTo>
                  <a:lnTo>
                    <a:pt x="2479" y="1737"/>
                  </a:lnTo>
                  <a:lnTo>
                    <a:pt x="2505" y="1719"/>
                  </a:lnTo>
                  <a:lnTo>
                    <a:pt x="2531" y="1699"/>
                  </a:lnTo>
                  <a:lnTo>
                    <a:pt x="2555" y="1677"/>
                  </a:lnTo>
                  <a:close/>
                  <a:moveTo>
                    <a:pt x="2426" y="1205"/>
                  </a:moveTo>
                  <a:lnTo>
                    <a:pt x="2400" y="1152"/>
                  </a:lnTo>
                  <a:lnTo>
                    <a:pt x="2373" y="1099"/>
                  </a:lnTo>
                  <a:lnTo>
                    <a:pt x="2344" y="1047"/>
                  </a:lnTo>
                  <a:lnTo>
                    <a:pt x="2314" y="996"/>
                  </a:lnTo>
                  <a:lnTo>
                    <a:pt x="2283" y="947"/>
                  </a:lnTo>
                  <a:lnTo>
                    <a:pt x="2251" y="897"/>
                  </a:lnTo>
                  <a:lnTo>
                    <a:pt x="2216" y="849"/>
                  </a:lnTo>
                  <a:lnTo>
                    <a:pt x="2181" y="802"/>
                  </a:lnTo>
                  <a:lnTo>
                    <a:pt x="2164" y="816"/>
                  </a:lnTo>
                  <a:lnTo>
                    <a:pt x="2147" y="827"/>
                  </a:lnTo>
                  <a:lnTo>
                    <a:pt x="2130" y="840"/>
                  </a:lnTo>
                  <a:lnTo>
                    <a:pt x="2112" y="851"/>
                  </a:lnTo>
                  <a:lnTo>
                    <a:pt x="2075" y="872"/>
                  </a:lnTo>
                  <a:lnTo>
                    <a:pt x="2039" y="892"/>
                  </a:lnTo>
                  <a:lnTo>
                    <a:pt x="2001" y="910"/>
                  </a:lnTo>
                  <a:lnTo>
                    <a:pt x="1961" y="926"/>
                  </a:lnTo>
                  <a:lnTo>
                    <a:pt x="1921" y="941"/>
                  </a:lnTo>
                  <a:lnTo>
                    <a:pt x="1881" y="955"/>
                  </a:lnTo>
                  <a:lnTo>
                    <a:pt x="1902" y="1011"/>
                  </a:lnTo>
                  <a:lnTo>
                    <a:pt x="1922" y="1068"/>
                  </a:lnTo>
                  <a:lnTo>
                    <a:pt x="1941" y="1125"/>
                  </a:lnTo>
                  <a:lnTo>
                    <a:pt x="1959" y="1182"/>
                  </a:lnTo>
                  <a:lnTo>
                    <a:pt x="1976" y="1240"/>
                  </a:lnTo>
                  <a:lnTo>
                    <a:pt x="1993" y="1297"/>
                  </a:lnTo>
                  <a:lnTo>
                    <a:pt x="2008" y="1356"/>
                  </a:lnTo>
                  <a:lnTo>
                    <a:pt x="2023" y="1414"/>
                  </a:lnTo>
                  <a:lnTo>
                    <a:pt x="2077" y="1396"/>
                  </a:lnTo>
                  <a:lnTo>
                    <a:pt x="2130" y="1377"/>
                  </a:lnTo>
                  <a:lnTo>
                    <a:pt x="2157" y="1366"/>
                  </a:lnTo>
                  <a:lnTo>
                    <a:pt x="2184" y="1355"/>
                  </a:lnTo>
                  <a:lnTo>
                    <a:pt x="2209" y="1343"/>
                  </a:lnTo>
                  <a:lnTo>
                    <a:pt x="2236" y="1331"/>
                  </a:lnTo>
                  <a:lnTo>
                    <a:pt x="2261" y="1318"/>
                  </a:lnTo>
                  <a:lnTo>
                    <a:pt x="2286" y="1304"/>
                  </a:lnTo>
                  <a:lnTo>
                    <a:pt x="2311" y="1289"/>
                  </a:lnTo>
                  <a:lnTo>
                    <a:pt x="2335" y="1274"/>
                  </a:lnTo>
                  <a:lnTo>
                    <a:pt x="2358" y="1258"/>
                  </a:lnTo>
                  <a:lnTo>
                    <a:pt x="2381" y="1242"/>
                  </a:lnTo>
                  <a:lnTo>
                    <a:pt x="2404" y="1223"/>
                  </a:lnTo>
                  <a:lnTo>
                    <a:pt x="2426" y="1205"/>
                  </a:lnTo>
                  <a:close/>
                  <a:moveTo>
                    <a:pt x="2153" y="766"/>
                  </a:moveTo>
                  <a:lnTo>
                    <a:pt x="2131" y="738"/>
                  </a:lnTo>
                  <a:lnTo>
                    <a:pt x="2108" y="711"/>
                  </a:lnTo>
                  <a:lnTo>
                    <a:pt x="2085" y="683"/>
                  </a:lnTo>
                  <a:lnTo>
                    <a:pt x="2061" y="657"/>
                  </a:lnTo>
                  <a:lnTo>
                    <a:pt x="2037" y="630"/>
                  </a:lnTo>
                  <a:lnTo>
                    <a:pt x="2012" y="605"/>
                  </a:lnTo>
                  <a:lnTo>
                    <a:pt x="1988" y="578"/>
                  </a:lnTo>
                  <a:lnTo>
                    <a:pt x="1963" y="554"/>
                  </a:lnTo>
                  <a:lnTo>
                    <a:pt x="1938" y="571"/>
                  </a:lnTo>
                  <a:lnTo>
                    <a:pt x="1914" y="586"/>
                  </a:lnTo>
                  <a:lnTo>
                    <a:pt x="1888" y="601"/>
                  </a:lnTo>
                  <a:lnTo>
                    <a:pt x="1861" y="615"/>
                  </a:lnTo>
                  <a:lnTo>
                    <a:pt x="1835" y="627"/>
                  </a:lnTo>
                  <a:lnTo>
                    <a:pt x="1807" y="638"/>
                  </a:lnTo>
                  <a:lnTo>
                    <a:pt x="1779" y="649"/>
                  </a:lnTo>
                  <a:lnTo>
                    <a:pt x="1752" y="658"/>
                  </a:lnTo>
                  <a:lnTo>
                    <a:pt x="1767" y="689"/>
                  </a:lnTo>
                  <a:lnTo>
                    <a:pt x="1782" y="721"/>
                  </a:lnTo>
                  <a:lnTo>
                    <a:pt x="1797" y="752"/>
                  </a:lnTo>
                  <a:lnTo>
                    <a:pt x="1811" y="784"/>
                  </a:lnTo>
                  <a:lnTo>
                    <a:pt x="1826" y="816"/>
                  </a:lnTo>
                  <a:lnTo>
                    <a:pt x="1838" y="848"/>
                  </a:lnTo>
                  <a:lnTo>
                    <a:pt x="1852" y="880"/>
                  </a:lnTo>
                  <a:lnTo>
                    <a:pt x="1865" y="912"/>
                  </a:lnTo>
                  <a:lnTo>
                    <a:pt x="1903" y="900"/>
                  </a:lnTo>
                  <a:lnTo>
                    <a:pt x="1942" y="885"/>
                  </a:lnTo>
                  <a:lnTo>
                    <a:pt x="1979" y="870"/>
                  </a:lnTo>
                  <a:lnTo>
                    <a:pt x="2016" y="852"/>
                  </a:lnTo>
                  <a:lnTo>
                    <a:pt x="2051" y="833"/>
                  </a:lnTo>
                  <a:lnTo>
                    <a:pt x="2087" y="813"/>
                  </a:lnTo>
                  <a:lnTo>
                    <a:pt x="2120" y="790"/>
                  </a:lnTo>
                  <a:lnTo>
                    <a:pt x="2153" y="766"/>
                  </a:lnTo>
                  <a:close/>
                  <a:moveTo>
                    <a:pt x="1934" y="526"/>
                  </a:moveTo>
                  <a:lnTo>
                    <a:pt x="1906" y="501"/>
                  </a:lnTo>
                  <a:lnTo>
                    <a:pt x="1879" y="476"/>
                  </a:lnTo>
                  <a:lnTo>
                    <a:pt x="1850" y="451"/>
                  </a:lnTo>
                  <a:lnTo>
                    <a:pt x="1821" y="427"/>
                  </a:lnTo>
                  <a:lnTo>
                    <a:pt x="1791" y="403"/>
                  </a:lnTo>
                  <a:lnTo>
                    <a:pt x="1761" y="381"/>
                  </a:lnTo>
                  <a:lnTo>
                    <a:pt x="1730" y="359"/>
                  </a:lnTo>
                  <a:lnTo>
                    <a:pt x="1699" y="339"/>
                  </a:lnTo>
                  <a:lnTo>
                    <a:pt x="1687" y="347"/>
                  </a:lnTo>
                  <a:lnTo>
                    <a:pt x="1676" y="355"/>
                  </a:lnTo>
                  <a:lnTo>
                    <a:pt x="1664" y="363"/>
                  </a:lnTo>
                  <a:lnTo>
                    <a:pt x="1652" y="370"/>
                  </a:lnTo>
                  <a:lnTo>
                    <a:pt x="1626" y="382"/>
                  </a:lnTo>
                  <a:lnTo>
                    <a:pt x="1600" y="394"/>
                  </a:lnTo>
                  <a:lnTo>
                    <a:pt x="1618" y="422"/>
                  </a:lnTo>
                  <a:lnTo>
                    <a:pt x="1637" y="449"/>
                  </a:lnTo>
                  <a:lnTo>
                    <a:pt x="1654" y="478"/>
                  </a:lnTo>
                  <a:lnTo>
                    <a:pt x="1671" y="506"/>
                  </a:lnTo>
                  <a:lnTo>
                    <a:pt x="1687" y="534"/>
                  </a:lnTo>
                  <a:lnTo>
                    <a:pt x="1703" y="564"/>
                  </a:lnTo>
                  <a:lnTo>
                    <a:pt x="1720" y="593"/>
                  </a:lnTo>
                  <a:lnTo>
                    <a:pt x="1735" y="623"/>
                  </a:lnTo>
                  <a:lnTo>
                    <a:pt x="1761" y="614"/>
                  </a:lnTo>
                  <a:lnTo>
                    <a:pt x="1786" y="605"/>
                  </a:lnTo>
                  <a:lnTo>
                    <a:pt x="1813" y="594"/>
                  </a:lnTo>
                  <a:lnTo>
                    <a:pt x="1838" y="583"/>
                  </a:lnTo>
                  <a:lnTo>
                    <a:pt x="1864" y="570"/>
                  </a:lnTo>
                  <a:lnTo>
                    <a:pt x="1888" y="557"/>
                  </a:lnTo>
                  <a:lnTo>
                    <a:pt x="1911" y="543"/>
                  </a:lnTo>
                  <a:lnTo>
                    <a:pt x="1934" y="526"/>
                  </a:lnTo>
                  <a:close/>
                  <a:moveTo>
                    <a:pt x="1460" y="280"/>
                  </a:moveTo>
                  <a:lnTo>
                    <a:pt x="1450" y="284"/>
                  </a:lnTo>
                  <a:lnTo>
                    <a:pt x="1438" y="288"/>
                  </a:lnTo>
                  <a:lnTo>
                    <a:pt x="1426" y="291"/>
                  </a:lnTo>
                  <a:lnTo>
                    <a:pt x="1414" y="294"/>
                  </a:lnTo>
                  <a:lnTo>
                    <a:pt x="1414" y="392"/>
                  </a:lnTo>
                  <a:lnTo>
                    <a:pt x="1445" y="389"/>
                  </a:lnTo>
                  <a:lnTo>
                    <a:pt x="1476" y="386"/>
                  </a:lnTo>
                  <a:lnTo>
                    <a:pt x="1508" y="380"/>
                  </a:lnTo>
                  <a:lnTo>
                    <a:pt x="1538" y="373"/>
                  </a:lnTo>
                  <a:lnTo>
                    <a:pt x="1519" y="349"/>
                  </a:lnTo>
                  <a:lnTo>
                    <a:pt x="1501" y="326"/>
                  </a:lnTo>
                  <a:lnTo>
                    <a:pt x="1481" y="303"/>
                  </a:lnTo>
                  <a:lnTo>
                    <a:pt x="1460" y="280"/>
                  </a:lnTo>
                  <a:close/>
                  <a:moveTo>
                    <a:pt x="1880" y="2583"/>
                  </a:moveTo>
                  <a:lnTo>
                    <a:pt x="1897" y="2563"/>
                  </a:lnTo>
                  <a:lnTo>
                    <a:pt x="1914" y="2543"/>
                  </a:lnTo>
                  <a:lnTo>
                    <a:pt x="1929" y="2522"/>
                  </a:lnTo>
                  <a:lnTo>
                    <a:pt x="1944" y="2500"/>
                  </a:lnTo>
                  <a:lnTo>
                    <a:pt x="1958" y="2477"/>
                  </a:lnTo>
                  <a:lnTo>
                    <a:pt x="1970" y="2454"/>
                  </a:lnTo>
                  <a:lnTo>
                    <a:pt x="1981" y="2430"/>
                  </a:lnTo>
                  <a:lnTo>
                    <a:pt x="1991" y="2405"/>
                  </a:lnTo>
                  <a:lnTo>
                    <a:pt x="1957" y="2415"/>
                  </a:lnTo>
                  <a:lnTo>
                    <a:pt x="1921" y="2423"/>
                  </a:lnTo>
                  <a:lnTo>
                    <a:pt x="1885" y="2431"/>
                  </a:lnTo>
                  <a:lnTo>
                    <a:pt x="1850" y="2439"/>
                  </a:lnTo>
                  <a:lnTo>
                    <a:pt x="1814" y="2446"/>
                  </a:lnTo>
                  <a:lnTo>
                    <a:pt x="1777" y="2452"/>
                  </a:lnTo>
                  <a:lnTo>
                    <a:pt x="1741" y="2457"/>
                  </a:lnTo>
                  <a:lnTo>
                    <a:pt x="1706" y="2462"/>
                  </a:lnTo>
                  <a:lnTo>
                    <a:pt x="1633" y="2471"/>
                  </a:lnTo>
                  <a:lnTo>
                    <a:pt x="1561" y="2477"/>
                  </a:lnTo>
                  <a:lnTo>
                    <a:pt x="1487" y="2482"/>
                  </a:lnTo>
                  <a:lnTo>
                    <a:pt x="1414" y="2483"/>
                  </a:lnTo>
                  <a:lnTo>
                    <a:pt x="1414" y="2664"/>
                  </a:lnTo>
                  <a:lnTo>
                    <a:pt x="1444" y="2664"/>
                  </a:lnTo>
                  <a:lnTo>
                    <a:pt x="1473" y="2662"/>
                  </a:lnTo>
                  <a:lnTo>
                    <a:pt x="1503" y="2660"/>
                  </a:lnTo>
                  <a:lnTo>
                    <a:pt x="1533" y="2658"/>
                  </a:lnTo>
                  <a:lnTo>
                    <a:pt x="1562" y="2655"/>
                  </a:lnTo>
                  <a:lnTo>
                    <a:pt x="1592" y="2652"/>
                  </a:lnTo>
                  <a:lnTo>
                    <a:pt x="1620" y="2647"/>
                  </a:lnTo>
                  <a:lnTo>
                    <a:pt x="1650" y="2643"/>
                  </a:lnTo>
                  <a:lnTo>
                    <a:pt x="1679" y="2637"/>
                  </a:lnTo>
                  <a:lnTo>
                    <a:pt x="1708" y="2631"/>
                  </a:lnTo>
                  <a:lnTo>
                    <a:pt x="1737" y="2624"/>
                  </a:lnTo>
                  <a:lnTo>
                    <a:pt x="1766" y="2617"/>
                  </a:lnTo>
                  <a:lnTo>
                    <a:pt x="1794" y="2609"/>
                  </a:lnTo>
                  <a:lnTo>
                    <a:pt x="1823" y="2601"/>
                  </a:lnTo>
                  <a:lnTo>
                    <a:pt x="1851" y="2592"/>
                  </a:lnTo>
                  <a:lnTo>
                    <a:pt x="1880" y="2583"/>
                  </a:lnTo>
                  <a:close/>
                  <a:moveTo>
                    <a:pt x="2008" y="2361"/>
                  </a:moveTo>
                  <a:lnTo>
                    <a:pt x="2016" y="2336"/>
                  </a:lnTo>
                  <a:lnTo>
                    <a:pt x="2023" y="2312"/>
                  </a:lnTo>
                  <a:lnTo>
                    <a:pt x="2028" y="2287"/>
                  </a:lnTo>
                  <a:lnTo>
                    <a:pt x="2034" y="2263"/>
                  </a:lnTo>
                  <a:lnTo>
                    <a:pt x="2039" y="2237"/>
                  </a:lnTo>
                  <a:lnTo>
                    <a:pt x="2043" y="2213"/>
                  </a:lnTo>
                  <a:lnTo>
                    <a:pt x="2047" y="2188"/>
                  </a:lnTo>
                  <a:lnTo>
                    <a:pt x="2050" y="2162"/>
                  </a:lnTo>
                  <a:lnTo>
                    <a:pt x="2055" y="2112"/>
                  </a:lnTo>
                  <a:lnTo>
                    <a:pt x="2057" y="2062"/>
                  </a:lnTo>
                  <a:lnTo>
                    <a:pt x="2058" y="2011"/>
                  </a:lnTo>
                  <a:lnTo>
                    <a:pt x="2058" y="1961"/>
                  </a:lnTo>
                  <a:lnTo>
                    <a:pt x="2019" y="1971"/>
                  </a:lnTo>
                  <a:lnTo>
                    <a:pt x="1979" y="1980"/>
                  </a:lnTo>
                  <a:lnTo>
                    <a:pt x="1940" y="1988"/>
                  </a:lnTo>
                  <a:lnTo>
                    <a:pt x="1899" y="1996"/>
                  </a:lnTo>
                  <a:lnTo>
                    <a:pt x="1859" y="2005"/>
                  </a:lnTo>
                  <a:lnTo>
                    <a:pt x="1820" y="2010"/>
                  </a:lnTo>
                  <a:lnTo>
                    <a:pt x="1779" y="2017"/>
                  </a:lnTo>
                  <a:lnTo>
                    <a:pt x="1739" y="2022"/>
                  </a:lnTo>
                  <a:lnTo>
                    <a:pt x="1698" y="2028"/>
                  </a:lnTo>
                  <a:lnTo>
                    <a:pt x="1657" y="2031"/>
                  </a:lnTo>
                  <a:lnTo>
                    <a:pt x="1617" y="2034"/>
                  </a:lnTo>
                  <a:lnTo>
                    <a:pt x="1577" y="2038"/>
                  </a:lnTo>
                  <a:lnTo>
                    <a:pt x="1495" y="2043"/>
                  </a:lnTo>
                  <a:lnTo>
                    <a:pt x="1414" y="2045"/>
                  </a:lnTo>
                  <a:lnTo>
                    <a:pt x="1414" y="2443"/>
                  </a:lnTo>
                  <a:lnTo>
                    <a:pt x="1489" y="2442"/>
                  </a:lnTo>
                  <a:lnTo>
                    <a:pt x="1564" y="2438"/>
                  </a:lnTo>
                  <a:lnTo>
                    <a:pt x="1602" y="2434"/>
                  </a:lnTo>
                  <a:lnTo>
                    <a:pt x="1639" y="2431"/>
                  </a:lnTo>
                  <a:lnTo>
                    <a:pt x="1677" y="2426"/>
                  </a:lnTo>
                  <a:lnTo>
                    <a:pt x="1714" y="2422"/>
                  </a:lnTo>
                  <a:lnTo>
                    <a:pt x="1752" y="2417"/>
                  </a:lnTo>
                  <a:lnTo>
                    <a:pt x="1789" y="2410"/>
                  </a:lnTo>
                  <a:lnTo>
                    <a:pt x="1826" y="2403"/>
                  </a:lnTo>
                  <a:lnTo>
                    <a:pt x="1862" y="2396"/>
                  </a:lnTo>
                  <a:lnTo>
                    <a:pt x="1899" y="2388"/>
                  </a:lnTo>
                  <a:lnTo>
                    <a:pt x="1936" y="2380"/>
                  </a:lnTo>
                  <a:lnTo>
                    <a:pt x="1972" y="2370"/>
                  </a:lnTo>
                  <a:lnTo>
                    <a:pt x="2008" y="2361"/>
                  </a:lnTo>
                  <a:close/>
                  <a:moveTo>
                    <a:pt x="2057" y="1920"/>
                  </a:moveTo>
                  <a:lnTo>
                    <a:pt x="2054" y="1863"/>
                  </a:lnTo>
                  <a:lnTo>
                    <a:pt x="2049" y="1805"/>
                  </a:lnTo>
                  <a:lnTo>
                    <a:pt x="2043" y="1748"/>
                  </a:lnTo>
                  <a:lnTo>
                    <a:pt x="2035" y="1690"/>
                  </a:lnTo>
                  <a:lnTo>
                    <a:pt x="2026" y="1634"/>
                  </a:lnTo>
                  <a:lnTo>
                    <a:pt x="2017" y="1576"/>
                  </a:lnTo>
                  <a:lnTo>
                    <a:pt x="2005" y="1519"/>
                  </a:lnTo>
                  <a:lnTo>
                    <a:pt x="1994" y="1463"/>
                  </a:lnTo>
                  <a:lnTo>
                    <a:pt x="1958" y="1472"/>
                  </a:lnTo>
                  <a:lnTo>
                    <a:pt x="1922" y="1481"/>
                  </a:lnTo>
                  <a:lnTo>
                    <a:pt x="1888" y="1490"/>
                  </a:lnTo>
                  <a:lnTo>
                    <a:pt x="1851" y="1496"/>
                  </a:lnTo>
                  <a:lnTo>
                    <a:pt x="1815" y="1503"/>
                  </a:lnTo>
                  <a:lnTo>
                    <a:pt x="1779" y="1510"/>
                  </a:lnTo>
                  <a:lnTo>
                    <a:pt x="1743" y="1515"/>
                  </a:lnTo>
                  <a:lnTo>
                    <a:pt x="1707" y="1521"/>
                  </a:lnTo>
                  <a:lnTo>
                    <a:pt x="1633" y="1529"/>
                  </a:lnTo>
                  <a:lnTo>
                    <a:pt x="1561" y="1534"/>
                  </a:lnTo>
                  <a:lnTo>
                    <a:pt x="1487" y="1538"/>
                  </a:lnTo>
                  <a:lnTo>
                    <a:pt x="1414" y="1539"/>
                  </a:lnTo>
                  <a:lnTo>
                    <a:pt x="1414" y="2006"/>
                  </a:lnTo>
                  <a:lnTo>
                    <a:pt x="1496" y="2003"/>
                  </a:lnTo>
                  <a:lnTo>
                    <a:pt x="1577" y="1999"/>
                  </a:lnTo>
                  <a:lnTo>
                    <a:pt x="1617" y="1996"/>
                  </a:lnTo>
                  <a:lnTo>
                    <a:pt x="1657" y="1992"/>
                  </a:lnTo>
                  <a:lnTo>
                    <a:pt x="1698" y="1988"/>
                  </a:lnTo>
                  <a:lnTo>
                    <a:pt x="1738" y="1983"/>
                  </a:lnTo>
                  <a:lnTo>
                    <a:pt x="1778" y="1978"/>
                  </a:lnTo>
                  <a:lnTo>
                    <a:pt x="1819" y="1971"/>
                  </a:lnTo>
                  <a:lnTo>
                    <a:pt x="1859" y="1964"/>
                  </a:lnTo>
                  <a:lnTo>
                    <a:pt x="1898" y="1957"/>
                  </a:lnTo>
                  <a:lnTo>
                    <a:pt x="1938" y="1949"/>
                  </a:lnTo>
                  <a:lnTo>
                    <a:pt x="1978" y="1940"/>
                  </a:lnTo>
                  <a:lnTo>
                    <a:pt x="2018" y="1931"/>
                  </a:lnTo>
                  <a:lnTo>
                    <a:pt x="2057" y="1920"/>
                  </a:lnTo>
                  <a:close/>
                  <a:moveTo>
                    <a:pt x="1984" y="1425"/>
                  </a:moveTo>
                  <a:lnTo>
                    <a:pt x="1971" y="1366"/>
                  </a:lnTo>
                  <a:lnTo>
                    <a:pt x="1956" y="1309"/>
                  </a:lnTo>
                  <a:lnTo>
                    <a:pt x="1940" y="1251"/>
                  </a:lnTo>
                  <a:lnTo>
                    <a:pt x="1922" y="1193"/>
                  </a:lnTo>
                  <a:lnTo>
                    <a:pt x="1904" y="1136"/>
                  </a:lnTo>
                  <a:lnTo>
                    <a:pt x="1884" y="1079"/>
                  </a:lnTo>
                  <a:lnTo>
                    <a:pt x="1865" y="1023"/>
                  </a:lnTo>
                  <a:lnTo>
                    <a:pt x="1844" y="966"/>
                  </a:lnTo>
                  <a:lnTo>
                    <a:pt x="1791" y="981"/>
                  </a:lnTo>
                  <a:lnTo>
                    <a:pt x="1738" y="993"/>
                  </a:lnTo>
                  <a:lnTo>
                    <a:pt x="1685" y="1003"/>
                  </a:lnTo>
                  <a:lnTo>
                    <a:pt x="1631" y="1013"/>
                  </a:lnTo>
                  <a:lnTo>
                    <a:pt x="1577" y="1019"/>
                  </a:lnTo>
                  <a:lnTo>
                    <a:pt x="1523" y="1024"/>
                  </a:lnTo>
                  <a:lnTo>
                    <a:pt x="1468" y="1028"/>
                  </a:lnTo>
                  <a:lnTo>
                    <a:pt x="1414" y="1030"/>
                  </a:lnTo>
                  <a:lnTo>
                    <a:pt x="1414" y="1500"/>
                  </a:lnTo>
                  <a:lnTo>
                    <a:pt x="1487" y="1499"/>
                  </a:lnTo>
                  <a:lnTo>
                    <a:pt x="1558" y="1495"/>
                  </a:lnTo>
                  <a:lnTo>
                    <a:pt x="1630" y="1488"/>
                  </a:lnTo>
                  <a:lnTo>
                    <a:pt x="1702" y="1480"/>
                  </a:lnTo>
                  <a:lnTo>
                    <a:pt x="1738" y="1476"/>
                  </a:lnTo>
                  <a:lnTo>
                    <a:pt x="1774" y="1470"/>
                  </a:lnTo>
                  <a:lnTo>
                    <a:pt x="1808" y="1464"/>
                  </a:lnTo>
                  <a:lnTo>
                    <a:pt x="1844" y="1457"/>
                  </a:lnTo>
                  <a:lnTo>
                    <a:pt x="1880" y="1450"/>
                  </a:lnTo>
                  <a:lnTo>
                    <a:pt x="1914" y="1442"/>
                  </a:lnTo>
                  <a:lnTo>
                    <a:pt x="1950" y="1434"/>
                  </a:lnTo>
                  <a:lnTo>
                    <a:pt x="1984" y="1425"/>
                  </a:lnTo>
                  <a:close/>
                  <a:moveTo>
                    <a:pt x="1827" y="924"/>
                  </a:moveTo>
                  <a:lnTo>
                    <a:pt x="1814" y="892"/>
                  </a:lnTo>
                  <a:lnTo>
                    <a:pt x="1801" y="859"/>
                  </a:lnTo>
                  <a:lnTo>
                    <a:pt x="1787" y="827"/>
                  </a:lnTo>
                  <a:lnTo>
                    <a:pt x="1774" y="795"/>
                  </a:lnTo>
                  <a:lnTo>
                    <a:pt x="1759" y="764"/>
                  </a:lnTo>
                  <a:lnTo>
                    <a:pt x="1745" y="731"/>
                  </a:lnTo>
                  <a:lnTo>
                    <a:pt x="1730" y="700"/>
                  </a:lnTo>
                  <a:lnTo>
                    <a:pt x="1714" y="669"/>
                  </a:lnTo>
                  <a:lnTo>
                    <a:pt x="1677" y="678"/>
                  </a:lnTo>
                  <a:lnTo>
                    <a:pt x="1640" y="687"/>
                  </a:lnTo>
                  <a:lnTo>
                    <a:pt x="1603" y="693"/>
                  </a:lnTo>
                  <a:lnTo>
                    <a:pt x="1565" y="699"/>
                  </a:lnTo>
                  <a:lnTo>
                    <a:pt x="1528" y="704"/>
                  </a:lnTo>
                  <a:lnTo>
                    <a:pt x="1490" y="707"/>
                  </a:lnTo>
                  <a:lnTo>
                    <a:pt x="1452" y="711"/>
                  </a:lnTo>
                  <a:lnTo>
                    <a:pt x="1414" y="712"/>
                  </a:lnTo>
                  <a:lnTo>
                    <a:pt x="1414" y="984"/>
                  </a:lnTo>
                  <a:lnTo>
                    <a:pt x="1466" y="981"/>
                  </a:lnTo>
                  <a:lnTo>
                    <a:pt x="1519" y="978"/>
                  </a:lnTo>
                  <a:lnTo>
                    <a:pt x="1571" y="973"/>
                  </a:lnTo>
                  <a:lnTo>
                    <a:pt x="1623" y="966"/>
                  </a:lnTo>
                  <a:lnTo>
                    <a:pt x="1675" y="958"/>
                  </a:lnTo>
                  <a:lnTo>
                    <a:pt x="1725" y="949"/>
                  </a:lnTo>
                  <a:lnTo>
                    <a:pt x="1777" y="938"/>
                  </a:lnTo>
                  <a:lnTo>
                    <a:pt x="1827" y="924"/>
                  </a:lnTo>
                  <a:close/>
                  <a:moveTo>
                    <a:pt x="1696" y="634"/>
                  </a:moveTo>
                  <a:lnTo>
                    <a:pt x="1680" y="605"/>
                  </a:lnTo>
                  <a:lnTo>
                    <a:pt x="1665" y="576"/>
                  </a:lnTo>
                  <a:lnTo>
                    <a:pt x="1649" y="547"/>
                  </a:lnTo>
                  <a:lnTo>
                    <a:pt x="1633" y="518"/>
                  </a:lnTo>
                  <a:lnTo>
                    <a:pt x="1616" y="490"/>
                  </a:lnTo>
                  <a:lnTo>
                    <a:pt x="1599" y="462"/>
                  </a:lnTo>
                  <a:lnTo>
                    <a:pt x="1580" y="434"/>
                  </a:lnTo>
                  <a:lnTo>
                    <a:pt x="1562" y="407"/>
                  </a:lnTo>
                  <a:lnTo>
                    <a:pt x="1543" y="411"/>
                  </a:lnTo>
                  <a:lnTo>
                    <a:pt x="1525" y="416"/>
                  </a:lnTo>
                  <a:lnTo>
                    <a:pt x="1508" y="420"/>
                  </a:lnTo>
                  <a:lnTo>
                    <a:pt x="1489" y="423"/>
                  </a:lnTo>
                  <a:lnTo>
                    <a:pt x="1451" y="428"/>
                  </a:lnTo>
                  <a:lnTo>
                    <a:pt x="1414" y="431"/>
                  </a:lnTo>
                  <a:lnTo>
                    <a:pt x="1414" y="673"/>
                  </a:lnTo>
                  <a:lnTo>
                    <a:pt x="1450" y="672"/>
                  </a:lnTo>
                  <a:lnTo>
                    <a:pt x="1486" y="669"/>
                  </a:lnTo>
                  <a:lnTo>
                    <a:pt x="1521" y="666"/>
                  </a:lnTo>
                  <a:lnTo>
                    <a:pt x="1556" y="661"/>
                  </a:lnTo>
                  <a:lnTo>
                    <a:pt x="1592" y="657"/>
                  </a:lnTo>
                  <a:lnTo>
                    <a:pt x="1626" y="650"/>
                  </a:lnTo>
                  <a:lnTo>
                    <a:pt x="1662" y="643"/>
                  </a:lnTo>
                  <a:lnTo>
                    <a:pt x="1696" y="634"/>
                  </a:lnTo>
                  <a:close/>
                  <a:moveTo>
                    <a:pt x="1367" y="67"/>
                  </a:moveTo>
                  <a:lnTo>
                    <a:pt x="1342" y="68"/>
                  </a:lnTo>
                  <a:lnTo>
                    <a:pt x="1315" y="69"/>
                  </a:lnTo>
                  <a:lnTo>
                    <a:pt x="1289" y="71"/>
                  </a:lnTo>
                  <a:lnTo>
                    <a:pt x="1263" y="75"/>
                  </a:lnTo>
                  <a:lnTo>
                    <a:pt x="1282" y="83"/>
                  </a:lnTo>
                  <a:lnTo>
                    <a:pt x="1299" y="93"/>
                  </a:lnTo>
                  <a:lnTo>
                    <a:pt x="1308" y="99"/>
                  </a:lnTo>
                  <a:lnTo>
                    <a:pt x="1315" y="106"/>
                  </a:lnTo>
                  <a:lnTo>
                    <a:pt x="1322" y="113"/>
                  </a:lnTo>
                  <a:lnTo>
                    <a:pt x="1329" y="121"/>
                  </a:lnTo>
                  <a:lnTo>
                    <a:pt x="1338" y="120"/>
                  </a:lnTo>
                  <a:lnTo>
                    <a:pt x="1349" y="117"/>
                  </a:lnTo>
                  <a:lnTo>
                    <a:pt x="1358" y="116"/>
                  </a:lnTo>
                  <a:lnTo>
                    <a:pt x="1367" y="116"/>
                  </a:lnTo>
                  <a:lnTo>
                    <a:pt x="1367" y="67"/>
                  </a:lnTo>
                  <a:close/>
                  <a:moveTo>
                    <a:pt x="1180" y="97"/>
                  </a:moveTo>
                  <a:lnTo>
                    <a:pt x="1168" y="101"/>
                  </a:lnTo>
                  <a:lnTo>
                    <a:pt x="1155" y="106"/>
                  </a:lnTo>
                  <a:lnTo>
                    <a:pt x="1144" y="112"/>
                  </a:lnTo>
                  <a:lnTo>
                    <a:pt x="1131" y="119"/>
                  </a:lnTo>
                  <a:lnTo>
                    <a:pt x="1171" y="120"/>
                  </a:lnTo>
                  <a:lnTo>
                    <a:pt x="1210" y="123"/>
                  </a:lnTo>
                  <a:lnTo>
                    <a:pt x="1251" y="128"/>
                  </a:lnTo>
                  <a:lnTo>
                    <a:pt x="1290" y="135"/>
                  </a:lnTo>
                  <a:lnTo>
                    <a:pt x="1278" y="125"/>
                  </a:lnTo>
                  <a:lnTo>
                    <a:pt x="1266" y="117"/>
                  </a:lnTo>
                  <a:lnTo>
                    <a:pt x="1253" y="112"/>
                  </a:lnTo>
                  <a:lnTo>
                    <a:pt x="1238" y="107"/>
                  </a:lnTo>
                  <a:lnTo>
                    <a:pt x="1224" y="104"/>
                  </a:lnTo>
                  <a:lnTo>
                    <a:pt x="1209" y="100"/>
                  </a:lnTo>
                  <a:lnTo>
                    <a:pt x="1194" y="98"/>
                  </a:lnTo>
                  <a:lnTo>
                    <a:pt x="1180" y="97"/>
                  </a:lnTo>
                  <a:close/>
                  <a:moveTo>
                    <a:pt x="1088" y="98"/>
                  </a:moveTo>
                  <a:lnTo>
                    <a:pt x="1061" y="104"/>
                  </a:lnTo>
                  <a:lnTo>
                    <a:pt x="1033" y="109"/>
                  </a:lnTo>
                  <a:lnTo>
                    <a:pt x="1005" y="116"/>
                  </a:lnTo>
                  <a:lnTo>
                    <a:pt x="978" y="123"/>
                  </a:lnTo>
                  <a:lnTo>
                    <a:pt x="1009" y="121"/>
                  </a:lnTo>
                  <a:lnTo>
                    <a:pt x="1035" y="119"/>
                  </a:lnTo>
                  <a:lnTo>
                    <a:pt x="1048" y="115"/>
                  </a:lnTo>
                  <a:lnTo>
                    <a:pt x="1061" y="112"/>
                  </a:lnTo>
                  <a:lnTo>
                    <a:pt x="1074" y="106"/>
                  </a:lnTo>
                  <a:lnTo>
                    <a:pt x="1088" y="98"/>
                  </a:lnTo>
                  <a:close/>
                  <a:moveTo>
                    <a:pt x="1076" y="157"/>
                  </a:moveTo>
                  <a:lnTo>
                    <a:pt x="1069" y="163"/>
                  </a:lnTo>
                  <a:lnTo>
                    <a:pt x="1062" y="172"/>
                  </a:lnTo>
                  <a:lnTo>
                    <a:pt x="1056" y="180"/>
                  </a:lnTo>
                  <a:lnTo>
                    <a:pt x="1050" y="188"/>
                  </a:lnTo>
                  <a:lnTo>
                    <a:pt x="1086" y="180"/>
                  </a:lnTo>
                  <a:lnTo>
                    <a:pt x="1122" y="172"/>
                  </a:lnTo>
                  <a:lnTo>
                    <a:pt x="1157" y="166"/>
                  </a:lnTo>
                  <a:lnTo>
                    <a:pt x="1193" y="161"/>
                  </a:lnTo>
                  <a:lnTo>
                    <a:pt x="1163" y="159"/>
                  </a:lnTo>
                  <a:lnTo>
                    <a:pt x="1134" y="157"/>
                  </a:lnTo>
                  <a:lnTo>
                    <a:pt x="1106" y="157"/>
                  </a:lnTo>
                  <a:lnTo>
                    <a:pt x="1076" y="157"/>
                  </a:lnTo>
                  <a:close/>
                  <a:moveTo>
                    <a:pt x="1024" y="159"/>
                  </a:moveTo>
                  <a:lnTo>
                    <a:pt x="979" y="161"/>
                  </a:lnTo>
                  <a:lnTo>
                    <a:pt x="935" y="166"/>
                  </a:lnTo>
                  <a:lnTo>
                    <a:pt x="913" y="169"/>
                  </a:lnTo>
                  <a:lnTo>
                    <a:pt x="894" y="174"/>
                  </a:lnTo>
                  <a:lnTo>
                    <a:pt x="873" y="180"/>
                  </a:lnTo>
                  <a:lnTo>
                    <a:pt x="853" y="187"/>
                  </a:lnTo>
                  <a:lnTo>
                    <a:pt x="835" y="195"/>
                  </a:lnTo>
                  <a:lnTo>
                    <a:pt x="818" y="204"/>
                  </a:lnTo>
                  <a:lnTo>
                    <a:pt x="801" y="215"/>
                  </a:lnTo>
                  <a:lnTo>
                    <a:pt x="785" y="229"/>
                  </a:lnTo>
                  <a:lnTo>
                    <a:pt x="778" y="236"/>
                  </a:lnTo>
                  <a:lnTo>
                    <a:pt x="770" y="244"/>
                  </a:lnTo>
                  <a:lnTo>
                    <a:pt x="763" y="252"/>
                  </a:lnTo>
                  <a:lnTo>
                    <a:pt x="758" y="261"/>
                  </a:lnTo>
                  <a:lnTo>
                    <a:pt x="751" y="272"/>
                  </a:lnTo>
                  <a:lnTo>
                    <a:pt x="745" y="282"/>
                  </a:lnTo>
                  <a:lnTo>
                    <a:pt x="739" y="293"/>
                  </a:lnTo>
                  <a:lnTo>
                    <a:pt x="735" y="304"/>
                  </a:lnTo>
                  <a:lnTo>
                    <a:pt x="767" y="289"/>
                  </a:lnTo>
                  <a:lnTo>
                    <a:pt x="800" y="274"/>
                  </a:lnTo>
                  <a:lnTo>
                    <a:pt x="834" y="260"/>
                  </a:lnTo>
                  <a:lnTo>
                    <a:pt x="867" y="246"/>
                  </a:lnTo>
                  <a:lnTo>
                    <a:pt x="900" y="234"/>
                  </a:lnTo>
                  <a:lnTo>
                    <a:pt x="935" y="222"/>
                  </a:lnTo>
                  <a:lnTo>
                    <a:pt x="970" y="211"/>
                  </a:lnTo>
                  <a:lnTo>
                    <a:pt x="1004" y="200"/>
                  </a:lnTo>
                  <a:lnTo>
                    <a:pt x="1008" y="190"/>
                  </a:lnTo>
                  <a:lnTo>
                    <a:pt x="1012" y="178"/>
                  </a:lnTo>
                  <a:lnTo>
                    <a:pt x="1017" y="168"/>
                  </a:lnTo>
                  <a:lnTo>
                    <a:pt x="1024" y="159"/>
                  </a:lnTo>
                  <a:close/>
                  <a:moveTo>
                    <a:pt x="1040" y="231"/>
                  </a:moveTo>
                  <a:lnTo>
                    <a:pt x="1040" y="240"/>
                  </a:lnTo>
                  <a:lnTo>
                    <a:pt x="1041" y="246"/>
                  </a:lnTo>
                  <a:lnTo>
                    <a:pt x="1043" y="254"/>
                  </a:lnTo>
                  <a:lnTo>
                    <a:pt x="1047" y="261"/>
                  </a:lnTo>
                  <a:lnTo>
                    <a:pt x="1054" y="275"/>
                  </a:lnTo>
                  <a:lnTo>
                    <a:pt x="1063" y="288"/>
                  </a:lnTo>
                  <a:lnTo>
                    <a:pt x="1104" y="264"/>
                  </a:lnTo>
                  <a:lnTo>
                    <a:pt x="1148" y="241"/>
                  </a:lnTo>
                  <a:lnTo>
                    <a:pt x="1169" y="230"/>
                  </a:lnTo>
                  <a:lnTo>
                    <a:pt x="1192" y="220"/>
                  </a:lnTo>
                  <a:lnTo>
                    <a:pt x="1214" y="211"/>
                  </a:lnTo>
                  <a:lnTo>
                    <a:pt x="1237" y="203"/>
                  </a:lnTo>
                  <a:lnTo>
                    <a:pt x="1237" y="197"/>
                  </a:lnTo>
                  <a:lnTo>
                    <a:pt x="1211" y="198"/>
                  </a:lnTo>
                  <a:lnTo>
                    <a:pt x="1187" y="200"/>
                  </a:lnTo>
                  <a:lnTo>
                    <a:pt x="1162" y="204"/>
                  </a:lnTo>
                  <a:lnTo>
                    <a:pt x="1137" y="207"/>
                  </a:lnTo>
                  <a:lnTo>
                    <a:pt x="1112" y="213"/>
                  </a:lnTo>
                  <a:lnTo>
                    <a:pt x="1088" y="219"/>
                  </a:lnTo>
                  <a:lnTo>
                    <a:pt x="1063" y="225"/>
                  </a:lnTo>
                  <a:lnTo>
                    <a:pt x="1040" y="231"/>
                  </a:lnTo>
                  <a:close/>
                  <a:moveTo>
                    <a:pt x="1001" y="242"/>
                  </a:moveTo>
                  <a:lnTo>
                    <a:pt x="965" y="253"/>
                  </a:lnTo>
                  <a:lnTo>
                    <a:pt x="929" y="265"/>
                  </a:lnTo>
                  <a:lnTo>
                    <a:pt x="895" y="278"/>
                  </a:lnTo>
                  <a:lnTo>
                    <a:pt x="859" y="291"/>
                  </a:lnTo>
                  <a:lnTo>
                    <a:pt x="824" y="306"/>
                  </a:lnTo>
                  <a:lnTo>
                    <a:pt x="790" y="321"/>
                  </a:lnTo>
                  <a:lnTo>
                    <a:pt x="756" y="336"/>
                  </a:lnTo>
                  <a:lnTo>
                    <a:pt x="722" y="354"/>
                  </a:lnTo>
                  <a:lnTo>
                    <a:pt x="722" y="364"/>
                  </a:lnTo>
                  <a:lnTo>
                    <a:pt x="722" y="374"/>
                  </a:lnTo>
                  <a:lnTo>
                    <a:pt x="723" y="386"/>
                  </a:lnTo>
                  <a:lnTo>
                    <a:pt x="725" y="396"/>
                  </a:lnTo>
                  <a:lnTo>
                    <a:pt x="728" y="405"/>
                  </a:lnTo>
                  <a:lnTo>
                    <a:pt x="731" y="416"/>
                  </a:lnTo>
                  <a:lnTo>
                    <a:pt x="736" y="425"/>
                  </a:lnTo>
                  <a:lnTo>
                    <a:pt x="740" y="434"/>
                  </a:lnTo>
                  <a:lnTo>
                    <a:pt x="751" y="453"/>
                  </a:lnTo>
                  <a:lnTo>
                    <a:pt x="763" y="470"/>
                  </a:lnTo>
                  <a:lnTo>
                    <a:pt x="777" y="486"/>
                  </a:lnTo>
                  <a:lnTo>
                    <a:pt x="792" y="501"/>
                  </a:lnTo>
                  <a:lnTo>
                    <a:pt x="820" y="475"/>
                  </a:lnTo>
                  <a:lnTo>
                    <a:pt x="849" y="449"/>
                  </a:lnTo>
                  <a:lnTo>
                    <a:pt x="877" y="424"/>
                  </a:lnTo>
                  <a:lnTo>
                    <a:pt x="907" y="400"/>
                  </a:lnTo>
                  <a:lnTo>
                    <a:pt x="937" y="375"/>
                  </a:lnTo>
                  <a:lnTo>
                    <a:pt x="967" y="352"/>
                  </a:lnTo>
                  <a:lnTo>
                    <a:pt x="998" y="331"/>
                  </a:lnTo>
                  <a:lnTo>
                    <a:pt x="1031" y="309"/>
                  </a:lnTo>
                  <a:lnTo>
                    <a:pt x="1020" y="294"/>
                  </a:lnTo>
                  <a:lnTo>
                    <a:pt x="1011" y="278"/>
                  </a:lnTo>
                  <a:lnTo>
                    <a:pt x="1008" y="269"/>
                  </a:lnTo>
                  <a:lnTo>
                    <a:pt x="1005" y="260"/>
                  </a:lnTo>
                  <a:lnTo>
                    <a:pt x="1003" y="251"/>
                  </a:lnTo>
                  <a:lnTo>
                    <a:pt x="1001" y="242"/>
                  </a:lnTo>
                  <a:close/>
                  <a:moveTo>
                    <a:pt x="683" y="374"/>
                  </a:moveTo>
                  <a:lnTo>
                    <a:pt x="656" y="389"/>
                  </a:lnTo>
                  <a:lnTo>
                    <a:pt x="629" y="404"/>
                  </a:lnTo>
                  <a:lnTo>
                    <a:pt x="602" y="422"/>
                  </a:lnTo>
                  <a:lnTo>
                    <a:pt x="576" y="438"/>
                  </a:lnTo>
                  <a:lnTo>
                    <a:pt x="549" y="455"/>
                  </a:lnTo>
                  <a:lnTo>
                    <a:pt x="524" y="473"/>
                  </a:lnTo>
                  <a:lnTo>
                    <a:pt x="498" y="492"/>
                  </a:lnTo>
                  <a:lnTo>
                    <a:pt x="473" y="511"/>
                  </a:lnTo>
                  <a:lnTo>
                    <a:pt x="472" y="528"/>
                  </a:lnTo>
                  <a:lnTo>
                    <a:pt x="473" y="545"/>
                  </a:lnTo>
                  <a:lnTo>
                    <a:pt x="474" y="561"/>
                  </a:lnTo>
                  <a:lnTo>
                    <a:pt x="477" y="577"/>
                  </a:lnTo>
                  <a:lnTo>
                    <a:pt x="480" y="592"/>
                  </a:lnTo>
                  <a:lnTo>
                    <a:pt x="485" y="607"/>
                  </a:lnTo>
                  <a:lnTo>
                    <a:pt x="490" y="622"/>
                  </a:lnTo>
                  <a:lnTo>
                    <a:pt x="496" y="637"/>
                  </a:lnTo>
                  <a:lnTo>
                    <a:pt x="503" y="652"/>
                  </a:lnTo>
                  <a:lnTo>
                    <a:pt x="511" y="666"/>
                  </a:lnTo>
                  <a:lnTo>
                    <a:pt x="520" y="678"/>
                  </a:lnTo>
                  <a:lnTo>
                    <a:pt x="530" y="692"/>
                  </a:lnTo>
                  <a:lnTo>
                    <a:pt x="540" y="705"/>
                  </a:lnTo>
                  <a:lnTo>
                    <a:pt x="550" y="718"/>
                  </a:lnTo>
                  <a:lnTo>
                    <a:pt x="562" y="729"/>
                  </a:lnTo>
                  <a:lnTo>
                    <a:pt x="573" y="741"/>
                  </a:lnTo>
                  <a:lnTo>
                    <a:pt x="596" y="713"/>
                  </a:lnTo>
                  <a:lnTo>
                    <a:pt x="618" y="685"/>
                  </a:lnTo>
                  <a:lnTo>
                    <a:pt x="642" y="659"/>
                  </a:lnTo>
                  <a:lnTo>
                    <a:pt x="665" y="631"/>
                  </a:lnTo>
                  <a:lnTo>
                    <a:pt x="690" y="605"/>
                  </a:lnTo>
                  <a:lnTo>
                    <a:pt x="714" y="579"/>
                  </a:lnTo>
                  <a:lnTo>
                    <a:pt x="739" y="554"/>
                  </a:lnTo>
                  <a:lnTo>
                    <a:pt x="765" y="529"/>
                  </a:lnTo>
                  <a:lnTo>
                    <a:pt x="748" y="513"/>
                  </a:lnTo>
                  <a:lnTo>
                    <a:pt x="733" y="495"/>
                  </a:lnTo>
                  <a:lnTo>
                    <a:pt x="721" y="478"/>
                  </a:lnTo>
                  <a:lnTo>
                    <a:pt x="709" y="458"/>
                  </a:lnTo>
                  <a:lnTo>
                    <a:pt x="699" y="439"/>
                  </a:lnTo>
                  <a:lnTo>
                    <a:pt x="691" y="418"/>
                  </a:lnTo>
                  <a:lnTo>
                    <a:pt x="688" y="407"/>
                  </a:lnTo>
                  <a:lnTo>
                    <a:pt x="686" y="396"/>
                  </a:lnTo>
                  <a:lnTo>
                    <a:pt x="684" y="385"/>
                  </a:lnTo>
                  <a:lnTo>
                    <a:pt x="683" y="374"/>
                  </a:lnTo>
                  <a:close/>
                  <a:moveTo>
                    <a:pt x="427" y="549"/>
                  </a:moveTo>
                  <a:lnTo>
                    <a:pt x="389" y="583"/>
                  </a:lnTo>
                  <a:lnTo>
                    <a:pt x="353" y="619"/>
                  </a:lnTo>
                  <a:lnTo>
                    <a:pt x="318" y="655"/>
                  </a:lnTo>
                  <a:lnTo>
                    <a:pt x="285" y="695"/>
                  </a:lnTo>
                  <a:lnTo>
                    <a:pt x="269" y="714"/>
                  </a:lnTo>
                  <a:lnTo>
                    <a:pt x="253" y="735"/>
                  </a:lnTo>
                  <a:lnTo>
                    <a:pt x="238" y="756"/>
                  </a:lnTo>
                  <a:lnTo>
                    <a:pt x="224" y="776"/>
                  </a:lnTo>
                  <a:lnTo>
                    <a:pt x="210" y="797"/>
                  </a:lnTo>
                  <a:lnTo>
                    <a:pt x="197" y="819"/>
                  </a:lnTo>
                  <a:lnTo>
                    <a:pt x="184" y="841"/>
                  </a:lnTo>
                  <a:lnTo>
                    <a:pt x="171" y="864"/>
                  </a:lnTo>
                  <a:lnTo>
                    <a:pt x="172" y="886"/>
                  </a:lnTo>
                  <a:lnTo>
                    <a:pt x="174" y="908"/>
                  </a:lnTo>
                  <a:lnTo>
                    <a:pt x="177" y="928"/>
                  </a:lnTo>
                  <a:lnTo>
                    <a:pt x="180" y="950"/>
                  </a:lnTo>
                  <a:lnTo>
                    <a:pt x="185" y="971"/>
                  </a:lnTo>
                  <a:lnTo>
                    <a:pt x="192" y="992"/>
                  </a:lnTo>
                  <a:lnTo>
                    <a:pt x="199" y="1011"/>
                  </a:lnTo>
                  <a:lnTo>
                    <a:pt x="207" y="1031"/>
                  </a:lnTo>
                  <a:lnTo>
                    <a:pt x="216" y="1051"/>
                  </a:lnTo>
                  <a:lnTo>
                    <a:pt x="227" y="1070"/>
                  </a:lnTo>
                  <a:lnTo>
                    <a:pt x="237" y="1089"/>
                  </a:lnTo>
                  <a:lnTo>
                    <a:pt x="250" y="1106"/>
                  </a:lnTo>
                  <a:lnTo>
                    <a:pt x="262" y="1123"/>
                  </a:lnTo>
                  <a:lnTo>
                    <a:pt x="275" y="1140"/>
                  </a:lnTo>
                  <a:lnTo>
                    <a:pt x="290" y="1157"/>
                  </a:lnTo>
                  <a:lnTo>
                    <a:pt x="305" y="1173"/>
                  </a:lnTo>
                  <a:lnTo>
                    <a:pt x="329" y="1121"/>
                  </a:lnTo>
                  <a:lnTo>
                    <a:pt x="357" y="1069"/>
                  </a:lnTo>
                  <a:lnTo>
                    <a:pt x="384" y="1018"/>
                  </a:lnTo>
                  <a:lnTo>
                    <a:pt x="414" y="969"/>
                  </a:lnTo>
                  <a:lnTo>
                    <a:pt x="445" y="919"/>
                  </a:lnTo>
                  <a:lnTo>
                    <a:pt x="478" y="871"/>
                  </a:lnTo>
                  <a:lnTo>
                    <a:pt x="511" y="824"/>
                  </a:lnTo>
                  <a:lnTo>
                    <a:pt x="546" y="776"/>
                  </a:lnTo>
                  <a:lnTo>
                    <a:pt x="534" y="766"/>
                  </a:lnTo>
                  <a:lnTo>
                    <a:pt x="523" y="753"/>
                  </a:lnTo>
                  <a:lnTo>
                    <a:pt x="511" y="742"/>
                  </a:lnTo>
                  <a:lnTo>
                    <a:pt x="501" y="729"/>
                  </a:lnTo>
                  <a:lnTo>
                    <a:pt x="490" y="715"/>
                  </a:lnTo>
                  <a:lnTo>
                    <a:pt x="481" y="703"/>
                  </a:lnTo>
                  <a:lnTo>
                    <a:pt x="472" y="689"/>
                  </a:lnTo>
                  <a:lnTo>
                    <a:pt x="464" y="674"/>
                  </a:lnTo>
                  <a:lnTo>
                    <a:pt x="456" y="660"/>
                  </a:lnTo>
                  <a:lnTo>
                    <a:pt x="450" y="645"/>
                  </a:lnTo>
                  <a:lnTo>
                    <a:pt x="443" y="630"/>
                  </a:lnTo>
                  <a:lnTo>
                    <a:pt x="439" y="614"/>
                  </a:lnTo>
                  <a:lnTo>
                    <a:pt x="434" y="598"/>
                  </a:lnTo>
                  <a:lnTo>
                    <a:pt x="430" y="582"/>
                  </a:lnTo>
                  <a:lnTo>
                    <a:pt x="428" y="566"/>
                  </a:lnTo>
                  <a:lnTo>
                    <a:pt x="427" y="549"/>
                  </a:lnTo>
                  <a:close/>
                  <a:moveTo>
                    <a:pt x="1093" y="316"/>
                  </a:moveTo>
                  <a:lnTo>
                    <a:pt x="1112" y="329"/>
                  </a:lnTo>
                  <a:lnTo>
                    <a:pt x="1134" y="341"/>
                  </a:lnTo>
                  <a:lnTo>
                    <a:pt x="1156" y="351"/>
                  </a:lnTo>
                  <a:lnTo>
                    <a:pt x="1179" y="360"/>
                  </a:lnTo>
                  <a:lnTo>
                    <a:pt x="1199" y="334"/>
                  </a:lnTo>
                  <a:lnTo>
                    <a:pt x="1218" y="309"/>
                  </a:lnTo>
                  <a:lnTo>
                    <a:pt x="1240" y="283"/>
                  </a:lnTo>
                  <a:lnTo>
                    <a:pt x="1262" y="258"/>
                  </a:lnTo>
                  <a:lnTo>
                    <a:pt x="1253" y="250"/>
                  </a:lnTo>
                  <a:lnTo>
                    <a:pt x="1246" y="241"/>
                  </a:lnTo>
                  <a:lnTo>
                    <a:pt x="1226" y="248"/>
                  </a:lnTo>
                  <a:lnTo>
                    <a:pt x="1207" y="256"/>
                  </a:lnTo>
                  <a:lnTo>
                    <a:pt x="1187" y="265"/>
                  </a:lnTo>
                  <a:lnTo>
                    <a:pt x="1168" y="274"/>
                  </a:lnTo>
                  <a:lnTo>
                    <a:pt x="1130" y="294"/>
                  </a:lnTo>
                  <a:lnTo>
                    <a:pt x="1093" y="316"/>
                  </a:lnTo>
                  <a:close/>
                  <a:moveTo>
                    <a:pt x="1058" y="337"/>
                  </a:moveTo>
                  <a:lnTo>
                    <a:pt x="1027" y="358"/>
                  </a:lnTo>
                  <a:lnTo>
                    <a:pt x="996" y="380"/>
                  </a:lnTo>
                  <a:lnTo>
                    <a:pt x="965" y="403"/>
                  </a:lnTo>
                  <a:lnTo>
                    <a:pt x="936" y="426"/>
                  </a:lnTo>
                  <a:lnTo>
                    <a:pt x="906" y="450"/>
                  </a:lnTo>
                  <a:lnTo>
                    <a:pt x="877" y="476"/>
                  </a:lnTo>
                  <a:lnTo>
                    <a:pt x="850" y="501"/>
                  </a:lnTo>
                  <a:lnTo>
                    <a:pt x="822" y="526"/>
                  </a:lnTo>
                  <a:lnTo>
                    <a:pt x="844" y="543"/>
                  </a:lnTo>
                  <a:lnTo>
                    <a:pt x="868" y="557"/>
                  </a:lnTo>
                  <a:lnTo>
                    <a:pt x="892" y="570"/>
                  </a:lnTo>
                  <a:lnTo>
                    <a:pt x="918" y="583"/>
                  </a:lnTo>
                  <a:lnTo>
                    <a:pt x="943" y="594"/>
                  </a:lnTo>
                  <a:lnTo>
                    <a:pt x="968" y="605"/>
                  </a:lnTo>
                  <a:lnTo>
                    <a:pt x="995" y="614"/>
                  </a:lnTo>
                  <a:lnTo>
                    <a:pt x="1021" y="623"/>
                  </a:lnTo>
                  <a:lnTo>
                    <a:pt x="1036" y="593"/>
                  </a:lnTo>
                  <a:lnTo>
                    <a:pt x="1053" y="564"/>
                  </a:lnTo>
                  <a:lnTo>
                    <a:pt x="1069" y="534"/>
                  </a:lnTo>
                  <a:lnTo>
                    <a:pt x="1085" y="506"/>
                  </a:lnTo>
                  <a:lnTo>
                    <a:pt x="1102" y="477"/>
                  </a:lnTo>
                  <a:lnTo>
                    <a:pt x="1119" y="449"/>
                  </a:lnTo>
                  <a:lnTo>
                    <a:pt x="1138" y="422"/>
                  </a:lnTo>
                  <a:lnTo>
                    <a:pt x="1156" y="393"/>
                  </a:lnTo>
                  <a:lnTo>
                    <a:pt x="1130" y="382"/>
                  </a:lnTo>
                  <a:lnTo>
                    <a:pt x="1104" y="370"/>
                  </a:lnTo>
                  <a:lnTo>
                    <a:pt x="1093" y="363"/>
                  </a:lnTo>
                  <a:lnTo>
                    <a:pt x="1080" y="355"/>
                  </a:lnTo>
                  <a:lnTo>
                    <a:pt x="1069" y="347"/>
                  </a:lnTo>
                  <a:lnTo>
                    <a:pt x="1058" y="337"/>
                  </a:lnTo>
                  <a:close/>
                  <a:moveTo>
                    <a:pt x="793" y="554"/>
                  </a:moveTo>
                  <a:lnTo>
                    <a:pt x="768" y="579"/>
                  </a:lnTo>
                  <a:lnTo>
                    <a:pt x="744" y="605"/>
                  </a:lnTo>
                  <a:lnTo>
                    <a:pt x="720" y="631"/>
                  </a:lnTo>
                  <a:lnTo>
                    <a:pt x="695" y="658"/>
                  </a:lnTo>
                  <a:lnTo>
                    <a:pt x="671" y="684"/>
                  </a:lnTo>
                  <a:lnTo>
                    <a:pt x="648" y="711"/>
                  </a:lnTo>
                  <a:lnTo>
                    <a:pt x="625" y="738"/>
                  </a:lnTo>
                  <a:lnTo>
                    <a:pt x="603" y="766"/>
                  </a:lnTo>
                  <a:lnTo>
                    <a:pt x="618" y="779"/>
                  </a:lnTo>
                  <a:lnTo>
                    <a:pt x="635" y="791"/>
                  </a:lnTo>
                  <a:lnTo>
                    <a:pt x="652" y="803"/>
                  </a:lnTo>
                  <a:lnTo>
                    <a:pt x="669" y="813"/>
                  </a:lnTo>
                  <a:lnTo>
                    <a:pt x="703" y="834"/>
                  </a:lnTo>
                  <a:lnTo>
                    <a:pt x="740" y="854"/>
                  </a:lnTo>
                  <a:lnTo>
                    <a:pt x="777" y="871"/>
                  </a:lnTo>
                  <a:lnTo>
                    <a:pt x="814" y="886"/>
                  </a:lnTo>
                  <a:lnTo>
                    <a:pt x="852" y="900"/>
                  </a:lnTo>
                  <a:lnTo>
                    <a:pt x="891" y="912"/>
                  </a:lnTo>
                  <a:lnTo>
                    <a:pt x="904" y="880"/>
                  </a:lnTo>
                  <a:lnTo>
                    <a:pt x="917" y="848"/>
                  </a:lnTo>
                  <a:lnTo>
                    <a:pt x="930" y="817"/>
                  </a:lnTo>
                  <a:lnTo>
                    <a:pt x="944" y="784"/>
                  </a:lnTo>
                  <a:lnTo>
                    <a:pt x="959" y="752"/>
                  </a:lnTo>
                  <a:lnTo>
                    <a:pt x="973" y="721"/>
                  </a:lnTo>
                  <a:lnTo>
                    <a:pt x="988" y="689"/>
                  </a:lnTo>
                  <a:lnTo>
                    <a:pt x="1003" y="658"/>
                  </a:lnTo>
                  <a:lnTo>
                    <a:pt x="975" y="649"/>
                  </a:lnTo>
                  <a:lnTo>
                    <a:pt x="948" y="638"/>
                  </a:lnTo>
                  <a:lnTo>
                    <a:pt x="921" y="628"/>
                  </a:lnTo>
                  <a:lnTo>
                    <a:pt x="894" y="615"/>
                  </a:lnTo>
                  <a:lnTo>
                    <a:pt x="868" y="601"/>
                  </a:lnTo>
                  <a:lnTo>
                    <a:pt x="842" y="586"/>
                  </a:lnTo>
                  <a:lnTo>
                    <a:pt x="818" y="571"/>
                  </a:lnTo>
                  <a:lnTo>
                    <a:pt x="793" y="554"/>
                  </a:lnTo>
                  <a:close/>
                  <a:moveTo>
                    <a:pt x="576" y="803"/>
                  </a:moveTo>
                  <a:lnTo>
                    <a:pt x="540" y="849"/>
                  </a:lnTo>
                  <a:lnTo>
                    <a:pt x="506" y="897"/>
                  </a:lnTo>
                  <a:lnTo>
                    <a:pt x="474" y="946"/>
                  </a:lnTo>
                  <a:lnTo>
                    <a:pt x="443" y="995"/>
                  </a:lnTo>
                  <a:lnTo>
                    <a:pt x="414" y="1046"/>
                  </a:lnTo>
                  <a:lnTo>
                    <a:pt x="386" y="1097"/>
                  </a:lnTo>
                  <a:lnTo>
                    <a:pt x="359" y="1149"/>
                  </a:lnTo>
                  <a:lnTo>
                    <a:pt x="334" y="1202"/>
                  </a:lnTo>
                  <a:lnTo>
                    <a:pt x="356" y="1220"/>
                  </a:lnTo>
                  <a:lnTo>
                    <a:pt x="377" y="1237"/>
                  </a:lnTo>
                  <a:lnTo>
                    <a:pt x="400" y="1255"/>
                  </a:lnTo>
                  <a:lnTo>
                    <a:pt x="424" y="1271"/>
                  </a:lnTo>
                  <a:lnTo>
                    <a:pt x="448" y="1286"/>
                  </a:lnTo>
                  <a:lnTo>
                    <a:pt x="473" y="1301"/>
                  </a:lnTo>
                  <a:lnTo>
                    <a:pt x="497" y="1314"/>
                  </a:lnTo>
                  <a:lnTo>
                    <a:pt x="523" y="1327"/>
                  </a:lnTo>
                  <a:lnTo>
                    <a:pt x="549" y="1340"/>
                  </a:lnTo>
                  <a:lnTo>
                    <a:pt x="574" y="1351"/>
                  </a:lnTo>
                  <a:lnTo>
                    <a:pt x="601" y="1363"/>
                  </a:lnTo>
                  <a:lnTo>
                    <a:pt x="627" y="1373"/>
                  </a:lnTo>
                  <a:lnTo>
                    <a:pt x="680" y="1393"/>
                  </a:lnTo>
                  <a:lnTo>
                    <a:pt x="735" y="1410"/>
                  </a:lnTo>
                  <a:lnTo>
                    <a:pt x="748" y="1352"/>
                  </a:lnTo>
                  <a:lnTo>
                    <a:pt x="765" y="1295"/>
                  </a:lnTo>
                  <a:lnTo>
                    <a:pt x="781" y="1237"/>
                  </a:lnTo>
                  <a:lnTo>
                    <a:pt x="797" y="1181"/>
                  </a:lnTo>
                  <a:lnTo>
                    <a:pt x="815" y="1124"/>
                  </a:lnTo>
                  <a:lnTo>
                    <a:pt x="834" y="1068"/>
                  </a:lnTo>
                  <a:lnTo>
                    <a:pt x="853" y="1011"/>
                  </a:lnTo>
                  <a:lnTo>
                    <a:pt x="874" y="956"/>
                  </a:lnTo>
                  <a:lnTo>
                    <a:pt x="835" y="942"/>
                  </a:lnTo>
                  <a:lnTo>
                    <a:pt x="794" y="927"/>
                  </a:lnTo>
                  <a:lnTo>
                    <a:pt x="755" y="911"/>
                  </a:lnTo>
                  <a:lnTo>
                    <a:pt x="717" y="893"/>
                  </a:lnTo>
                  <a:lnTo>
                    <a:pt x="680" y="873"/>
                  </a:lnTo>
                  <a:lnTo>
                    <a:pt x="644" y="851"/>
                  </a:lnTo>
                  <a:lnTo>
                    <a:pt x="626" y="840"/>
                  </a:lnTo>
                  <a:lnTo>
                    <a:pt x="609" y="828"/>
                  </a:lnTo>
                  <a:lnTo>
                    <a:pt x="592" y="816"/>
                  </a:lnTo>
                  <a:lnTo>
                    <a:pt x="576" y="803"/>
                  </a:lnTo>
                  <a:close/>
                  <a:moveTo>
                    <a:pt x="318" y="1238"/>
                  </a:moveTo>
                  <a:lnTo>
                    <a:pt x="296" y="1293"/>
                  </a:lnTo>
                  <a:lnTo>
                    <a:pt x="276" y="1347"/>
                  </a:lnTo>
                  <a:lnTo>
                    <a:pt x="258" y="1401"/>
                  </a:lnTo>
                  <a:lnTo>
                    <a:pt x="242" y="1457"/>
                  </a:lnTo>
                  <a:lnTo>
                    <a:pt x="235" y="1485"/>
                  </a:lnTo>
                  <a:lnTo>
                    <a:pt x="229" y="1513"/>
                  </a:lnTo>
                  <a:lnTo>
                    <a:pt x="223" y="1541"/>
                  </a:lnTo>
                  <a:lnTo>
                    <a:pt x="217" y="1570"/>
                  </a:lnTo>
                  <a:lnTo>
                    <a:pt x="213" y="1598"/>
                  </a:lnTo>
                  <a:lnTo>
                    <a:pt x="209" y="1627"/>
                  </a:lnTo>
                  <a:lnTo>
                    <a:pt x="207" y="1655"/>
                  </a:lnTo>
                  <a:lnTo>
                    <a:pt x="205" y="1684"/>
                  </a:lnTo>
                  <a:lnTo>
                    <a:pt x="229" y="1706"/>
                  </a:lnTo>
                  <a:lnTo>
                    <a:pt x="254" y="1726"/>
                  </a:lnTo>
                  <a:lnTo>
                    <a:pt x="280" y="1745"/>
                  </a:lnTo>
                  <a:lnTo>
                    <a:pt x="306" y="1763"/>
                  </a:lnTo>
                  <a:lnTo>
                    <a:pt x="334" y="1780"/>
                  </a:lnTo>
                  <a:lnTo>
                    <a:pt x="361" y="1796"/>
                  </a:lnTo>
                  <a:lnTo>
                    <a:pt x="390" y="1812"/>
                  </a:lnTo>
                  <a:lnTo>
                    <a:pt x="419" y="1826"/>
                  </a:lnTo>
                  <a:lnTo>
                    <a:pt x="449" y="1840"/>
                  </a:lnTo>
                  <a:lnTo>
                    <a:pt x="479" y="1852"/>
                  </a:lnTo>
                  <a:lnTo>
                    <a:pt x="509" y="1865"/>
                  </a:lnTo>
                  <a:lnTo>
                    <a:pt x="539" y="1877"/>
                  </a:lnTo>
                  <a:lnTo>
                    <a:pt x="600" y="1897"/>
                  </a:lnTo>
                  <a:lnTo>
                    <a:pt x="661" y="1916"/>
                  </a:lnTo>
                  <a:lnTo>
                    <a:pt x="664" y="1857"/>
                  </a:lnTo>
                  <a:lnTo>
                    <a:pt x="669" y="1798"/>
                  </a:lnTo>
                  <a:lnTo>
                    <a:pt x="675" y="1740"/>
                  </a:lnTo>
                  <a:lnTo>
                    <a:pt x="683" y="1681"/>
                  </a:lnTo>
                  <a:lnTo>
                    <a:pt x="692" y="1622"/>
                  </a:lnTo>
                  <a:lnTo>
                    <a:pt x="702" y="1563"/>
                  </a:lnTo>
                  <a:lnTo>
                    <a:pt x="714" y="1506"/>
                  </a:lnTo>
                  <a:lnTo>
                    <a:pt x="727" y="1448"/>
                  </a:lnTo>
                  <a:lnTo>
                    <a:pt x="671" y="1431"/>
                  </a:lnTo>
                  <a:lnTo>
                    <a:pt x="617" y="1411"/>
                  </a:lnTo>
                  <a:lnTo>
                    <a:pt x="591" y="1400"/>
                  </a:lnTo>
                  <a:lnTo>
                    <a:pt x="563" y="1389"/>
                  </a:lnTo>
                  <a:lnTo>
                    <a:pt x="536" y="1377"/>
                  </a:lnTo>
                  <a:lnTo>
                    <a:pt x="511" y="1364"/>
                  </a:lnTo>
                  <a:lnTo>
                    <a:pt x="485" y="1351"/>
                  </a:lnTo>
                  <a:lnTo>
                    <a:pt x="459" y="1337"/>
                  </a:lnTo>
                  <a:lnTo>
                    <a:pt x="434" y="1322"/>
                  </a:lnTo>
                  <a:lnTo>
                    <a:pt x="410" y="1308"/>
                  </a:lnTo>
                  <a:lnTo>
                    <a:pt x="386" y="1291"/>
                  </a:lnTo>
                  <a:lnTo>
                    <a:pt x="362" y="1275"/>
                  </a:lnTo>
                  <a:lnTo>
                    <a:pt x="339" y="1257"/>
                  </a:lnTo>
                  <a:lnTo>
                    <a:pt x="318" y="1238"/>
                  </a:lnTo>
                  <a:close/>
                  <a:moveTo>
                    <a:pt x="202" y="1736"/>
                  </a:moveTo>
                  <a:lnTo>
                    <a:pt x="203" y="1761"/>
                  </a:lnTo>
                  <a:lnTo>
                    <a:pt x="203" y="1787"/>
                  </a:lnTo>
                  <a:lnTo>
                    <a:pt x="206" y="1812"/>
                  </a:lnTo>
                  <a:lnTo>
                    <a:pt x="208" y="1837"/>
                  </a:lnTo>
                  <a:lnTo>
                    <a:pt x="212" y="1863"/>
                  </a:lnTo>
                  <a:lnTo>
                    <a:pt x="215" y="1887"/>
                  </a:lnTo>
                  <a:lnTo>
                    <a:pt x="220" y="1912"/>
                  </a:lnTo>
                  <a:lnTo>
                    <a:pt x="225" y="1937"/>
                  </a:lnTo>
                  <a:lnTo>
                    <a:pt x="231" y="1962"/>
                  </a:lnTo>
                  <a:lnTo>
                    <a:pt x="238" y="1986"/>
                  </a:lnTo>
                  <a:lnTo>
                    <a:pt x="246" y="2010"/>
                  </a:lnTo>
                  <a:lnTo>
                    <a:pt x="254" y="2033"/>
                  </a:lnTo>
                  <a:lnTo>
                    <a:pt x="265" y="2058"/>
                  </a:lnTo>
                  <a:lnTo>
                    <a:pt x="275" y="2081"/>
                  </a:lnTo>
                  <a:lnTo>
                    <a:pt x="285" y="2104"/>
                  </a:lnTo>
                  <a:lnTo>
                    <a:pt x="297" y="2126"/>
                  </a:lnTo>
                  <a:lnTo>
                    <a:pt x="320" y="2145"/>
                  </a:lnTo>
                  <a:lnTo>
                    <a:pt x="342" y="2162"/>
                  </a:lnTo>
                  <a:lnTo>
                    <a:pt x="365" y="2181"/>
                  </a:lnTo>
                  <a:lnTo>
                    <a:pt x="389" y="2197"/>
                  </a:lnTo>
                  <a:lnTo>
                    <a:pt x="413" y="2213"/>
                  </a:lnTo>
                  <a:lnTo>
                    <a:pt x="439" y="2228"/>
                  </a:lnTo>
                  <a:lnTo>
                    <a:pt x="464" y="2243"/>
                  </a:lnTo>
                  <a:lnTo>
                    <a:pt x="489" y="2257"/>
                  </a:lnTo>
                  <a:lnTo>
                    <a:pt x="516" y="2270"/>
                  </a:lnTo>
                  <a:lnTo>
                    <a:pt x="542" y="2282"/>
                  </a:lnTo>
                  <a:lnTo>
                    <a:pt x="569" y="2294"/>
                  </a:lnTo>
                  <a:lnTo>
                    <a:pt x="595" y="2305"/>
                  </a:lnTo>
                  <a:lnTo>
                    <a:pt x="649" y="2326"/>
                  </a:lnTo>
                  <a:lnTo>
                    <a:pt x="705" y="2346"/>
                  </a:lnTo>
                  <a:lnTo>
                    <a:pt x="698" y="2321"/>
                  </a:lnTo>
                  <a:lnTo>
                    <a:pt x="692" y="2298"/>
                  </a:lnTo>
                  <a:lnTo>
                    <a:pt x="686" y="2274"/>
                  </a:lnTo>
                  <a:lnTo>
                    <a:pt x="682" y="2250"/>
                  </a:lnTo>
                  <a:lnTo>
                    <a:pt x="674" y="2202"/>
                  </a:lnTo>
                  <a:lnTo>
                    <a:pt x="667" y="2152"/>
                  </a:lnTo>
                  <a:lnTo>
                    <a:pt x="663" y="2104"/>
                  </a:lnTo>
                  <a:lnTo>
                    <a:pt x="661" y="2054"/>
                  </a:lnTo>
                  <a:lnTo>
                    <a:pt x="660" y="2006"/>
                  </a:lnTo>
                  <a:lnTo>
                    <a:pt x="660" y="1956"/>
                  </a:lnTo>
                  <a:lnTo>
                    <a:pt x="599" y="1938"/>
                  </a:lnTo>
                  <a:lnTo>
                    <a:pt x="539" y="1918"/>
                  </a:lnTo>
                  <a:lnTo>
                    <a:pt x="509" y="1907"/>
                  </a:lnTo>
                  <a:lnTo>
                    <a:pt x="479" y="1895"/>
                  </a:lnTo>
                  <a:lnTo>
                    <a:pt x="449" y="1882"/>
                  </a:lnTo>
                  <a:lnTo>
                    <a:pt x="419" y="1870"/>
                  </a:lnTo>
                  <a:lnTo>
                    <a:pt x="390" y="1856"/>
                  </a:lnTo>
                  <a:lnTo>
                    <a:pt x="362" y="1841"/>
                  </a:lnTo>
                  <a:lnTo>
                    <a:pt x="334" y="1826"/>
                  </a:lnTo>
                  <a:lnTo>
                    <a:pt x="306" y="1810"/>
                  </a:lnTo>
                  <a:lnTo>
                    <a:pt x="280" y="1793"/>
                  </a:lnTo>
                  <a:lnTo>
                    <a:pt x="253" y="1774"/>
                  </a:lnTo>
                  <a:lnTo>
                    <a:pt x="228" y="1756"/>
                  </a:lnTo>
                  <a:lnTo>
                    <a:pt x="202" y="1736"/>
                  </a:lnTo>
                  <a:close/>
                  <a:moveTo>
                    <a:pt x="377" y="2236"/>
                  </a:moveTo>
                  <a:lnTo>
                    <a:pt x="399" y="2259"/>
                  </a:lnTo>
                  <a:lnTo>
                    <a:pt x="422" y="2281"/>
                  </a:lnTo>
                  <a:lnTo>
                    <a:pt x="445" y="2303"/>
                  </a:lnTo>
                  <a:lnTo>
                    <a:pt x="470" y="2324"/>
                  </a:lnTo>
                  <a:lnTo>
                    <a:pt x="494" y="2344"/>
                  </a:lnTo>
                  <a:lnTo>
                    <a:pt x="518" y="2365"/>
                  </a:lnTo>
                  <a:lnTo>
                    <a:pt x="543" y="2384"/>
                  </a:lnTo>
                  <a:lnTo>
                    <a:pt x="570" y="2403"/>
                  </a:lnTo>
                  <a:lnTo>
                    <a:pt x="595" y="2420"/>
                  </a:lnTo>
                  <a:lnTo>
                    <a:pt x="622" y="2439"/>
                  </a:lnTo>
                  <a:lnTo>
                    <a:pt x="648" y="2455"/>
                  </a:lnTo>
                  <a:lnTo>
                    <a:pt x="676" y="2471"/>
                  </a:lnTo>
                  <a:lnTo>
                    <a:pt x="703" y="2487"/>
                  </a:lnTo>
                  <a:lnTo>
                    <a:pt x="732" y="2502"/>
                  </a:lnTo>
                  <a:lnTo>
                    <a:pt x="760" y="2516"/>
                  </a:lnTo>
                  <a:lnTo>
                    <a:pt x="789" y="2530"/>
                  </a:lnTo>
                  <a:lnTo>
                    <a:pt x="778" y="2514"/>
                  </a:lnTo>
                  <a:lnTo>
                    <a:pt x="768" y="2498"/>
                  </a:lnTo>
                  <a:lnTo>
                    <a:pt x="759" y="2480"/>
                  </a:lnTo>
                  <a:lnTo>
                    <a:pt x="750" y="2463"/>
                  </a:lnTo>
                  <a:lnTo>
                    <a:pt x="733" y="2427"/>
                  </a:lnTo>
                  <a:lnTo>
                    <a:pt x="720" y="2390"/>
                  </a:lnTo>
                  <a:lnTo>
                    <a:pt x="675" y="2377"/>
                  </a:lnTo>
                  <a:lnTo>
                    <a:pt x="631" y="2361"/>
                  </a:lnTo>
                  <a:lnTo>
                    <a:pt x="586" y="2344"/>
                  </a:lnTo>
                  <a:lnTo>
                    <a:pt x="543" y="2326"/>
                  </a:lnTo>
                  <a:lnTo>
                    <a:pt x="501" y="2305"/>
                  </a:lnTo>
                  <a:lnTo>
                    <a:pt x="458" y="2284"/>
                  </a:lnTo>
                  <a:lnTo>
                    <a:pt x="418" y="2261"/>
                  </a:lnTo>
                  <a:lnTo>
                    <a:pt x="377" y="2236"/>
                  </a:lnTo>
                  <a:close/>
                  <a:moveTo>
                    <a:pt x="1218" y="373"/>
                  </a:moveTo>
                  <a:lnTo>
                    <a:pt x="1238" y="378"/>
                  </a:lnTo>
                  <a:lnTo>
                    <a:pt x="1256" y="381"/>
                  </a:lnTo>
                  <a:lnTo>
                    <a:pt x="1276" y="385"/>
                  </a:lnTo>
                  <a:lnTo>
                    <a:pt x="1296" y="388"/>
                  </a:lnTo>
                  <a:lnTo>
                    <a:pt x="1316" y="389"/>
                  </a:lnTo>
                  <a:lnTo>
                    <a:pt x="1336" y="392"/>
                  </a:lnTo>
                  <a:lnTo>
                    <a:pt x="1355" y="393"/>
                  </a:lnTo>
                  <a:lnTo>
                    <a:pt x="1375" y="393"/>
                  </a:lnTo>
                  <a:lnTo>
                    <a:pt x="1375" y="296"/>
                  </a:lnTo>
                  <a:lnTo>
                    <a:pt x="1354" y="295"/>
                  </a:lnTo>
                  <a:lnTo>
                    <a:pt x="1335" y="291"/>
                  </a:lnTo>
                  <a:lnTo>
                    <a:pt x="1314" y="287"/>
                  </a:lnTo>
                  <a:lnTo>
                    <a:pt x="1296" y="280"/>
                  </a:lnTo>
                  <a:lnTo>
                    <a:pt x="1275" y="302"/>
                  </a:lnTo>
                  <a:lnTo>
                    <a:pt x="1255" y="325"/>
                  </a:lnTo>
                  <a:lnTo>
                    <a:pt x="1237" y="349"/>
                  </a:lnTo>
                  <a:lnTo>
                    <a:pt x="1218" y="373"/>
                  </a:lnTo>
                  <a:close/>
                  <a:moveTo>
                    <a:pt x="1194" y="407"/>
                  </a:moveTo>
                  <a:lnTo>
                    <a:pt x="1176" y="433"/>
                  </a:lnTo>
                  <a:lnTo>
                    <a:pt x="1157" y="462"/>
                  </a:lnTo>
                  <a:lnTo>
                    <a:pt x="1140" y="490"/>
                  </a:lnTo>
                  <a:lnTo>
                    <a:pt x="1123" y="518"/>
                  </a:lnTo>
                  <a:lnTo>
                    <a:pt x="1107" y="546"/>
                  </a:lnTo>
                  <a:lnTo>
                    <a:pt x="1091" y="575"/>
                  </a:lnTo>
                  <a:lnTo>
                    <a:pt x="1074" y="605"/>
                  </a:lnTo>
                  <a:lnTo>
                    <a:pt x="1059" y="634"/>
                  </a:lnTo>
                  <a:lnTo>
                    <a:pt x="1099" y="643"/>
                  </a:lnTo>
                  <a:lnTo>
                    <a:pt x="1138" y="652"/>
                  </a:lnTo>
                  <a:lnTo>
                    <a:pt x="1177" y="658"/>
                  </a:lnTo>
                  <a:lnTo>
                    <a:pt x="1216" y="663"/>
                  </a:lnTo>
                  <a:lnTo>
                    <a:pt x="1255" y="668"/>
                  </a:lnTo>
                  <a:lnTo>
                    <a:pt x="1296" y="670"/>
                  </a:lnTo>
                  <a:lnTo>
                    <a:pt x="1336" y="673"/>
                  </a:lnTo>
                  <a:lnTo>
                    <a:pt x="1375" y="674"/>
                  </a:lnTo>
                  <a:lnTo>
                    <a:pt x="1375" y="432"/>
                  </a:lnTo>
                  <a:lnTo>
                    <a:pt x="1352" y="431"/>
                  </a:lnTo>
                  <a:lnTo>
                    <a:pt x="1329" y="430"/>
                  </a:lnTo>
                  <a:lnTo>
                    <a:pt x="1307" y="428"/>
                  </a:lnTo>
                  <a:lnTo>
                    <a:pt x="1284" y="425"/>
                  </a:lnTo>
                  <a:lnTo>
                    <a:pt x="1261" y="422"/>
                  </a:lnTo>
                  <a:lnTo>
                    <a:pt x="1239" y="417"/>
                  </a:lnTo>
                  <a:lnTo>
                    <a:pt x="1216" y="412"/>
                  </a:lnTo>
                  <a:lnTo>
                    <a:pt x="1194" y="407"/>
                  </a:lnTo>
                  <a:close/>
                  <a:moveTo>
                    <a:pt x="1041" y="669"/>
                  </a:moveTo>
                  <a:lnTo>
                    <a:pt x="1026" y="700"/>
                  </a:lnTo>
                  <a:lnTo>
                    <a:pt x="1011" y="731"/>
                  </a:lnTo>
                  <a:lnTo>
                    <a:pt x="996" y="764"/>
                  </a:lnTo>
                  <a:lnTo>
                    <a:pt x="982" y="796"/>
                  </a:lnTo>
                  <a:lnTo>
                    <a:pt x="968" y="827"/>
                  </a:lnTo>
                  <a:lnTo>
                    <a:pt x="955" y="859"/>
                  </a:lnTo>
                  <a:lnTo>
                    <a:pt x="941" y="892"/>
                  </a:lnTo>
                  <a:lnTo>
                    <a:pt x="928" y="924"/>
                  </a:lnTo>
                  <a:lnTo>
                    <a:pt x="983" y="939"/>
                  </a:lnTo>
                  <a:lnTo>
                    <a:pt x="1039" y="950"/>
                  </a:lnTo>
                  <a:lnTo>
                    <a:pt x="1094" y="961"/>
                  </a:lnTo>
                  <a:lnTo>
                    <a:pt x="1149" y="969"/>
                  </a:lnTo>
                  <a:lnTo>
                    <a:pt x="1206" y="976"/>
                  </a:lnTo>
                  <a:lnTo>
                    <a:pt x="1262" y="980"/>
                  </a:lnTo>
                  <a:lnTo>
                    <a:pt x="1319" y="983"/>
                  </a:lnTo>
                  <a:lnTo>
                    <a:pt x="1375" y="984"/>
                  </a:lnTo>
                  <a:lnTo>
                    <a:pt x="1375" y="712"/>
                  </a:lnTo>
                  <a:lnTo>
                    <a:pt x="1335" y="712"/>
                  </a:lnTo>
                  <a:lnTo>
                    <a:pt x="1293" y="710"/>
                  </a:lnTo>
                  <a:lnTo>
                    <a:pt x="1253" y="706"/>
                  </a:lnTo>
                  <a:lnTo>
                    <a:pt x="1211" y="703"/>
                  </a:lnTo>
                  <a:lnTo>
                    <a:pt x="1168" y="696"/>
                  </a:lnTo>
                  <a:lnTo>
                    <a:pt x="1124" y="688"/>
                  </a:lnTo>
                  <a:lnTo>
                    <a:pt x="1081" y="678"/>
                  </a:lnTo>
                  <a:lnTo>
                    <a:pt x="1041" y="669"/>
                  </a:lnTo>
                  <a:close/>
                  <a:moveTo>
                    <a:pt x="912" y="968"/>
                  </a:moveTo>
                  <a:lnTo>
                    <a:pt x="891" y="1023"/>
                  </a:lnTo>
                  <a:lnTo>
                    <a:pt x="872" y="1079"/>
                  </a:lnTo>
                  <a:lnTo>
                    <a:pt x="852" y="1135"/>
                  </a:lnTo>
                  <a:lnTo>
                    <a:pt x="835" y="1192"/>
                  </a:lnTo>
                  <a:lnTo>
                    <a:pt x="818" y="1249"/>
                  </a:lnTo>
                  <a:lnTo>
                    <a:pt x="801" y="1306"/>
                  </a:lnTo>
                  <a:lnTo>
                    <a:pt x="786" y="1363"/>
                  </a:lnTo>
                  <a:lnTo>
                    <a:pt x="773" y="1422"/>
                  </a:lnTo>
                  <a:lnTo>
                    <a:pt x="808" y="1431"/>
                  </a:lnTo>
                  <a:lnTo>
                    <a:pt x="845" y="1440"/>
                  </a:lnTo>
                  <a:lnTo>
                    <a:pt x="883" y="1449"/>
                  </a:lnTo>
                  <a:lnTo>
                    <a:pt x="920" y="1456"/>
                  </a:lnTo>
                  <a:lnTo>
                    <a:pt x="958" y="1464"/>
                  </a:lnTo>
                  <a:lnTo>
                    <a:pt x="995" y="1470"/>
                  </a:lnTo>
                  <a:lnTo>
                    <a:pt x="1033" y="1476"/>
                  </a:lnTo>
                  <a:lnTo>
                    <a:pt x="1071" y="1481"/>
                  </a:lnTo>
                  <a:lnTo>
                    <a:pt x="1109" y="1486"/>
                  </a:lnTo>
                  <a:lnTo>
                    <a:pt x="1147" y="1490"/>
                  </a:lnTo>
                  <a:lnTo>
                    <a:pt x="1185" y="1493"/>
                  </a:lnTo>
                  <a:lnTo>
                    <a:pt x="1223" y="1495"/>
                  </a:lnTo>
                  <a:lnTo>
                    <a:pt x="1261" y="1498"/>
                  </a:lnTo>
                  <a:lnTo>
                    <a:pt x="1299" y="1500"/>
                  </a:lnTo>
                  <a:lnTo>
                    <a:pt x="1337" y="1500"/>
                  </a:lnTo>
                  <a:lnTo>
                    <a:pt x="1375" y="1501"/>
                  </a:lnTo>
                  <a:lnTo>
                    <a:pt x="1375" y="1030"/>
                  </a:lnTo>
                  <a:lnTo>
                    <a:pt x="1316" y="1029"/>
                  </a:lnTo>
                  <a:lnTo>
                    <a:pt x="1258" y="1026"/>
                  </a:lnTo>
                  <a:lnTo>
                    <a:pt x="1200" y="1022"/>
                  </a:lnTo>
                  <a:lnTo>
                    <a:pt x="1141" y="1015"/>
                  </a:lnTo>
                  <a:lnTo>
                    <a:pt x="1084" y="1006"/>
                  </a:lnTo>
                  <a:lnTo>
                    <a:pt x="1026" y="995"/>
                  </a:lnTo>
                  <a:lnTo>
                    <a:pt x="968" y="983"/>
                  </a:lnTo>
                  <a:lnTo>
                    <a:pt x="912" y="968"/>
                  </a:lnTo>
                  <a:close/>
                  <a:moveTo>
                    <a:pt x="763" y="1458"/>
                  </a:moveTo>
                  <a:lnTo>
                    <a:pt x="751" y="1517"/>
                  </a:lnTo>
                  <a:lnTo>
                    <a:pt x="740" y="1575"/>
                  </a:lnTo>
                  <a:lnTo>
                    <a:pt x="730" y="1632"/>
                  </a:lnTo>
                  <a:lnTo>
                    <a:pt x="721" y="1691"/>
                  </a:lnTo>
                  <a:lnTo>
                    <a:pt x="713" y="1750"/>
                  </a:lnTo>
                  <a:lnTo>
                    <a:pt x="707" y="1809"/>
                  </a:lnTo>
                  <a:lnTo>
                    <a:pt x="702" y="1867"/>
                  </a:lnTo>
                  <a:lnTo>
                    <a:pt x="700" y="1926"/>
                  </a:lnTo>
                  <a:lnTo>
                    <a:pt x="740" y="1937"/>
                  </a:lnTo>
                  <a:lnTo>
                    <a:pt x="782" y="1947"/>
                  </a:lnTo>
                  <a:lnTo>
                    <a:pt x="823" y="1955"/>
                  </a:lnTo>
                  <a:lnTo>
                    <a:pt x="866" y="1963"/>
                  </a:lnTo>
                  <a:lnTo>
                    <a:pt x="907" y="1971"/>
                  </a:lnTo>
                  <a:lnTo>
                    <a:pt x="950" y="1978"/>
                  </a:lnTo>
                  <a:lnTo>
                    <a:pt x="993" y="1984"/>
                  </a:lnTo>
                  <a:lnTo>
                    <a:pt x="1035" y="1988"/>
                  </a:lnTo>
                  <a:lnTo>
                    <a:pt x="1078" y="1993"/>
                  </a:lnTo>
                  <a:lnTo>
                    <a:pt x="1119" y="1996"/>
                  </a:lnTo>
                  <a:lnTo>
                    <a:pt x="1163" y="2000"/>
                  </a:lnTo>
                  <a:lnTo>
                    <a:pt x="1206" y="2002"/>
                  </a:lnTo>
                  <a:lnTo>
                    <a:pt x="1248" y="2005"/>
                  </a:lnTo>
                  <a:lnTo>
                    <a:pt x="1290" y="2006"/>
                  </a:lnTo>
                  <a:lnTo>
                    <a:pt x="1332" y="2007"/>
                  </a:lnTo>
                  <a:lnTo>
                    <a:pt x="1375" y="2007"/>
                  </a:lnTo>
                  <a:lnTo>
                    <a:pt x="1375" y="1539"/>
                  </a:lnTo>
                  <a:lnTo>
                    <a:pt x="1337" y="1539"/>
                  </a:lnTo>
                  <a:lnTo>
                    <a:pt x="1298" y="1538"/>
                  </a:lnTo>
                  <a:lnTo>
                    <a:pt x="1259" y="1537"/>
                  </a:lnTo>
                  <a:lnTo>
                    <a:pt x="1221" y="1534"/>
                  </a:lnTo>
                  <a:lnTo>
                    <a:pt x="1182" y="1531"/>
                  </a:lnTo>
                  <a:lnTo>
                    <a:pt x="1144" y="1528"/>
                  </a:lnTo>
                  <a:lnTo>
                    <a:pt x="1106" y="1524"/>
                  </a:lnTo>
                  <a:lnTo>
                    <a:pt x="1066" y="1518"/>
                  </a:lnTo>
                  <a:lnTo>
                    <a:pt x="1028" y="1514"/>
                  </a:lnTo>
                  <a:lnTo>
                    <a:pt x="990" y="1508"/>
                  </a:lnTo>
                  <a:lnTo>
                    <a:pt x="952" y="1501"/>
                  </a:lnTo>
                  <a:lnTo>
                    <a:pt x="914" y="1494"/>
                  </a:lnTo>
                  <a:lnTo>
                    <a:pt x="876" y="1486"/>
                  </a:lnTo>
                  <a:lnTo>
                    <a:pt x="838" y="1478"/>
                  </a:lnTo>
                  <a:lnTo>
                    <a:pt x="801" y="1469"/>
                  </a:lnTo>
                  <a:lnTo>
                    <a:pt x="763" y="1458"/>
                  </a:lnTo>
                  <a:close/>
                  <a:moveTo>
                    <a:pt x="699" y="1967"/>
                  </a:moveTo>
                  <a:lnTo>
                    <a:pt x="699" y="2016"/>
                  </a:lnTo>
                  <a:lnTo>
                    <a:pt x="700" y="2066"/>
                  </a:lnTo>
                  <a:lnTo>
                    <a:pt x="702" y="2115"/>
                  </a:lnTo>
                  <a:lnTo>
                    <a:pt x="708" y="2165"/>
                  </a:lnTo>
                  <a:lnTo>
                    <a:pt x="715" y="2214"/>
                  </a:lnTo>
                  <a:lnTo>
                    <a:pt x="724" y="2264"/>
                  </a:lnTo>
                  <a:lnTo>
                    <a:pt x="729" y="2288"/>
                  </a:lnTo>
                  <a:lnTo>
                    <a:pt x="736" y="2312"/>
                  </a:lnTo>
                  <a:lnTo>
                    <a:pt x="741" y="2335"/>
                  </a:lnTo>
                  <a:lnTo>
                    <a:pt x="750" y="2359"/>
                  </a:lnTo>
                  <a:lnTo>
                    <a:pt x="788" y="2370"/>
                  </a:lnTo>
                  <a:lnTo>
                    <a:pt x="826" y="2380"/>
                  </a:lnTo>
                  <a:lnTo>
                    <a:pt x="865" y="2389"/>
                  </a:lnTo>
                  <a:lnTo>
                    <a:pt x="903" y="2397"/>
                  </a:lnTo>
                  <a:lnTo>
                    <a:pt x="942" y="2405"/>
                  </a:lnTo>
                  <a:lnTo>
                    <a:pt x="981" y="2412"/>
                  </a:lnTo>
                  <a:lnTo>
                    <a:pt x="1020" y="2418"/>
                  </a:lnTo>
                  <a:lnTo>
                    <a:pt x="1059" y="2424"/>
                  </a:lnTo>
                  <a:lnTo>
                    <a:pt x="1099" y="2429"/>
                  </a:lnTo>
                  <a:lnTo>
                    <a:pt x="1138" y="2433"/>
                  </a:lnTo>
                  <a:lnTo>
                    <a:pt x="1178" y="2437"/>
                  </a:lnTo>
                  <a:lnTo>
                    <a:pt x="1217" y="2439"/>
                  </a:lnTo>
                  <a:lnTo>
                    <a:pt x="1256" y="2441"/>
                  </a:lnTo>
                  <a:lnTo>
                    <a:pt x="1297" y="2442"/>
                  </a:lnTo>
                  <a:lnTo>
                    <a:pt x="1336" y="2443"/>
                  </a:lnTo>
                  <a:lnTo>
                    <a:pt x="1375" y="2445"/>
                  </a:lnTo>
                  <a:lnTo>
                    <a:pt x="1375" y="2045"/>
                  </a:lnTo>
                  <a:lnTo>
                    <a:pt x="1332" y="2045"/>
                  </a:lnTo>
                  <a:lnTo>
                    <a:pt x="1290" y="2045"/>
                  </a:lnTo>
                  <a:lnTo>
                    <a:pt x="1247" y="2044"/>
                  </a:lnTo>
                  <a:lnTo>
                    <a:pt x="1205" y="2041"/>
                  </a:lnTo>
                  <a:lnTo>
                    <a:pt x="1162" y="2039"/>
                  </a:lnTo>
                  <a:lnTo>
                    <a:pt x="1119" y="2036"/>
                  </a:lnTo>
                  <a:lnTo>
                    <a:pt x="1077" y="2032"/>
                  </a:lnTo>
                  <a:lnTo>
                    <a:pt x="1034" y="2028"/>
                  </a:lnTo>
                  <a:lnTo>
                    <a:pt x="991" y="2023"/>
                  </a:lnTo>
                  <a:lnTo>
                    <a:pt x="950" y="2017"/>
                  </a:lnTo>
                  <a:lnTo>
                    <a:pt x="907" y="2010"/>
                  </a:lnTo>
                  <a:lnTo>
                    <a:pt x="865" y="2003"/>
                  </a:lnTo>
                  <a:lnTo>
                    <a:pt x="823" y="1995"/>
                  </a:lnTo>
                  <a:lnTo>
                    <a:pt x="782" y="1986"/>
                  </a:lnTo>
                  <a:lnTo>
                    <a:pt x="740" y="1977"/>
                  </a:lnTo>
                  <a:lnTo>
                    <a:pt x="699" y="1967"/>
                  </a:lnTo>
                  <a:close/>
                  <a:moveTo>
                    <a:pt x="767" y="2404"/>
                  </a:moveTo>
                  <a:lnTo>
                    <a:pt x="776" y="2426"/>
                  </a:lnTo>
                  <a:lnTo>
                    <a:pt x="785" y="2447"/>
                  </a:lnTo>
                  <a:lnTo>
                    <a:pt x="796" y="2468"/>
                  </a:lnTo>
                  <a:lnTo>
                    <a:pt x="807" y="2487"/>
                  </a:lnTo>
                  <a:lnTo>
                    <a:pt x="820" y="2507"/>
                  </a:lnTo>
                  <a:lnTo>
                    <a:pt x="832" y="2525"/>
                  </a:lnTo>
                  <a:lnTo>
                    <a:pt x="847" y="2544"/>
                  </a:lnTo>
                  <a:lnTo>
                    <a:pt x="862" y="2562"/>
                  </a:lnTo>
                  <a:lnTo>
                    <a:pt x="892" y="2574"/>
                  </a:lnTo>
                  <a:lnTo>
                    <a:pt x="923" y="2584"/>
                  </a:lnTo>
                  <a:lnTo>
                    <a:pt x="955" y="2594"/>
                  </a:lnTo>
                  <a:lnTo>
                    <a:pt x="987" y="2605"/>
                  </a:lnTo>
                  <a:lnTo>
                    <a:pt x="1018" y="2613"/>
                  </a:lnTo>
                  <a:lnTo>
                    <a:pt x="1050" y="2622"/>
                  </a:lnTo>
                  <a:lnTo>
                    <a:pt x="1081" y="2629"/>
                  </a:lnTo>
                  <a:lnTo>
                    <a:pt x="1114" y="2636"/>
                  </a:lnTo>
                  <a:lnTo>
                    <a:pt x="1146" y="2642"/>
                  </a:lnTo>
                  <a:lnTo>
                    <a:pt x="1179" y="2647"/>
                  </a:lnTo>
                  <a:lnTo>
                    <a:pt x="1211" y="2652"/>
                  </a:lnTo>
                  <a:lnTo>
                    <a:pt x="1244" y="2655"/>
                  </a:lnTo>
                  <a:lnTo>
                    <a:pt x="1277" y="2659"/>
                  </a:lnTo>
                  <a:lnTo>
                    <a:pt x="1309" y="2661"/>
                  </a:lnTo>
                  <a:lnTo>
                    <a:pt x="1343" y="2662"/>
                  </a:lnTo>
                  <a:lnTo>
                    <a:pt x="1375" y="2664"/>
                  </a:lnTo>
                  <a:lnTo>
                    <a:pt x="1375" y="2483"/>
                  </a:lnTo>
                  <a:lnTo>
                    <a:pt x="1299" y="2482"/>
                  </a:lnTo>
                  <a:lnTo>
                    <a:pt x="1222" y="2478"/>
                  </a:lnTo>
                  <a:lnTo>
                    <a:pt x="1183" y="2476"/>
                  </a:lnTo>
                  <a:lnTo>
                    <a:pt x="1145" y="2472"/>
                  </a:lnTo>
                  <a:lnTo>
                    <a:pt x="1107" y="2469"/>
                  </a:lnTo>
                  <a:lnTo>
                    <a:pt x="1069" y="2464"/>
                  </a:lnTo>
                  <a:lnTo>
                    <a:pt x="1029" y="2460"/>
                  </a:lnTo>
                  <a:lnTo>
                    <a:pt x="991" y="2454"/>
                  </a:lnTo>
                  <a:lnTo>
                    <a:pt x="953" y="2447"/>
                  </a:lnTo>
                  <a:lnTo>
                    <a:pt x="917" y="2440"/>
                  </a:lnTo>
                  <a:lnTo>
                    <a:pt x="879" y="2432"/>
                  </a:lnTo>
                  <a:lnTo>
                    <a:pt x="841" y="2424"/>
                  </a:lnTo>
                  <a:lnTo>
                    <a:pt x="804" y="2415"/>
                  </a:lnTo>
                  <a:lnTo>
                    <a:pt x="767" y="2404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TextBox 15"/>
            <p:cNvSpPr txBox="1"/>
            <p:nvPr>
              <p:custDataLst>
                <p:tags r:id="rId4"/>
              </p:custDataLst>
            </p:nvPr>
          </p:nvSpPr>
          <p:spPr>
            <a:xfrm>
              <a:off x="2454533" y="4927004"/>
              <a:ext cx="1076207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en-US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www.mslee.co.kr</a:t>
              </a:r>
              <a:endPara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20592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1369260" y="520454"/>
            <a:ext cx="7667237" cy="3631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100" dirty="0" smtClean="0">
                <a:solidFill>
                  <a:schemeClr val="accent1">
                    <a:lumMod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쇄신과제 </a:t>
            </a:r>
            <a:r>
              <a:rPr lang="ko-KR" altLang="en-US" sz="2100" dirty="0" smtClean="0">
                <a:solidFill>
                  <a:schemeClr val="accent1">
                    <a:lumMod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⑨ 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전문성</a:t>
            </a:r>
            <a:r>
              <a:rPr lang="en-US" altLang="ko-KR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민족적 자존심 없는 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기금운용위원회」</a:t>
            </a:r>
            <a:endParaRPr lang="en-US" sz="210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56667" y="1060837"/>
            <a:ext cx="857982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위원회 內 자산운용전문가 비중 </a:t>
            </a: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해외연기금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주요 운용국가와 </a:t>
            </a: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비교시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현저히 낮음</a:t>
            </a:r>
            <a:endParaRPr lang="ko-KR" altLang="en-US" sz="1600" b="1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위원회 제시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국민연금기금운용지침」  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투자의 사회적 책임성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공공성 유지 항목 全無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endParaRPr lang="en-US" altLang="ko-KR" sz="1600" b="1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기금운용본부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위원회의 지침 없다는 사유로  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일본전범기업 매년 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5</a:t>
            </a:r>
            <a:r>
              <a:rPr lang="ko-KR" altLang="en-US" sz="1600" b="1" spc="-15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천억원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투자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자존심 상처</a:t>
            </a:r>
            <a:endParaRPr lang="en-US" altLang="ko-KR" sz="1600" b="1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복지부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500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조 연금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기금운용 업무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중대성 감안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연금기금정책국 신설 등 필요</a:t>
            </a:r>
          </a:p>
        </p:txBody>
      </p:sp>
      <p:sp>
        <p:nvSpPr>
          <p:cNvPr id="24" name="오른쪽 화살표 23"/>
          <p:cNvSpPr/>
          <p:nvPr/>
        </p:nvSpPr>
        <p:spPr>
          <a:xfrm>
            <a:off x="4259464" y="159918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6737213" y="124950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15" name="Group 50"/>
          <p:cNvGrpSpPr/>
          <p:nvPr/>
        </p:nvGrpSpPr>
        <p:grpSpPr>
          <a:xfrm>
            <a:off x="-1122" y="-81403"/>
            <a:ext cx="1113136" cy="1236229"/>
            <a:chOff x="-9097" y="-96310"/>
            <a:chExt cx="974935" cy="1025474"/>
          </a:xfrm>
        </p:grpSpPr>
        <p:sp>
          <p:nvSpPr>
            <p:cNvPr id="16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 rot="18886281">
              <a:off x="58852" y="187690"/>
              <a:ext cx="770174" cy="20217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7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9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9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18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그림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-8274" y="724510"/>
            <a:ext cx="252257" cy="120873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>
          <a:xfrm>
            <a:off x="710500" y="6061001"/>
            <a:ext cx="815861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기금관리 기구의 독립 公社化 등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역량강화와 위상제고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위한 방안 강</a:t>
            </a:r>
            <a:r>
              <a:rPr lang="ko-KR" altLang="en-US" sz="2000" dirty="0">
                <a:latin typeface="HY견고딕" panose="02030600000101010101" pitchFamily="18" charset="-127"/>
                <a:ea typeface="HY견고딕" panose="02030600000101010101" pitchFamily="18" charset="-127"/>
              </a:rPr>
              <a:t>화</a:t>
            </a:r>
          </a:p>
        </p:txBody>
      </p:sp>
      <p:sp>
        <p:nvSpPr>
          <p:cNvPr id="29" name="오른쪽 화살표 28"/>
          <p:cNvSpPr/>
          <p:nvPr/>
        </p:nvSpPr>
        <p:spPr>
          <a:xfrm>
            <a:off x="287100" y="6182007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2" name="오른쪽 화살표 21"/>
          <p:cNvSpPr/>
          <p:nvPr/>
        </p:nvSpPr>
        <p:spPr>
          <a:xfrm>
            <a:off x="5508104" y="232956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8012" y="2823525"/>
            <a:ext cx="4083888" cy="300715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오른쪽 화살표 25"/>
          <p:cNvSpPr/>
          <p:nvPr/>
        </p:nvSpPr>
        <p:spPr>
          <a:xfrm>
            <a:off x="4638569" y="196206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0" name="그림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955" y="2810916"/>
            <a:ext cx="3900072" cy="3015911"/>
          </a:xfrm>
          <a:prstGeom prst="rect">
            <a:avLst/>
          </a:prstGeom>
        </p:spPr>
      </p:pic>
      <p:sp>
        <p:nvSpPr>
          <p:cNvPr id="14" name="직사각형 13"/>
          <p:cNvSpPr/>
          <p:nvPr/>
        </p:nvSpPr>
        <p:spPr>
          <a:xfrm>
            <a:off x="585955" y="5157192"/>
            <a:ext cx="3900072" cy="669635"/>
          </a:xfrm>
          <a:prstGeom prst="rect">
            <a:avLst/>
          </a:prstGeom>
          <a:solidFill>
            <a:schemeClr val="bg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/>
        </p:nvSpPr>
        <p:spPr>
          <a:xfrm>
            <a:off x="707503" y="5191927"/>
            <a:ext cx="3656976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일본 </a:t>
            </a:r>
            <a:r>
              <a:rPr lang="ko-KR" altLang="en-US" sz="11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구마모토현</a:t>
            </a:r>
            <a:r>
              <a:rPr lang="ko-KR" altLang="en-US" sz="1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11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아라오시에</a:t>
            </a:r>
            <a:r>
              <a:rPr lang="ko-KR" altLang="en-US" sz="1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위치한 </a:t>
            </a:r>
            <a:r>
              <a:rPr lang="ko-KR" altLang="en-US" sz="11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미이케탄광</a:t>
            </a:r>
            <a:endParaRPr lang="en-US" altLang="ko-KR" sz="11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r>
              <a:rPr lang="ko-KR" altLang="en-US" sz="1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조선인노무자 </a:t>
            </a:r>
            <a:r>
              <a:rPr lang="ko-KR" altLang="en-US" sz="11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수천명</a:t>
            </a:r>
            <a:r>
              <a:rPr lang="ko-KR" altLang="en-US" sz="1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강제노역</a:t>
            </a:r>
            <a:endParaRPr lang="en-US" altLang="ko-KR" sz="11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r>
              <a:rPr lang="ko-KR" altLang="en-US" sz="1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현재 일본에서 세계유산 지정 추진 中</a:t>
            </a:r>
            <a:endParaRPr lang="ko-KR" altLang="en-US" sz="11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7379408" y="149423"/>
            <a:ext cx="137249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400" dirty="0"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400" dirty="0">
                <a:latin typeface="HY견고딕" panose="02030600000101010101" pitchFamily="18" charset="-127"/>
                <a:ea typeface="HY견고딕" panose="02030600000101010101" pitchFamily="18" charset="-127"/>
              </a:rPr>
              <a:t>위원장</a:t>
            </a:r>
            <a:r>
              <a:rPr lang="en-US" altLang="ko-KR" sz="1400" dirty="0">
                <a:latin typeface="HY견고딕" panose="02030600000101010101" pitchFamily="18" charset="-127"/>
                <a:ea typeface="HY견고딕" panose="02030600000101010101" pitchFamily="18" charset="-127"/>
              </a:rPr>
              <a:t>: </a:t>
            </a:r>
            <a:r>
              <a:rPr lang="ko-KR" altLang="en-US" sz="1400" dirty="0">
                <a:latin typeface="HY견고딕" panose="02030600000101010101" pitchFamily="18" charset="-127"/>
                <a:ea typeface="HY견고딕" panose="02030600000101010101" pitchFamily="18" charset="-127"/>
              </a:rPr>
              <a:t>장관</a:t>
            </a:r>
            <a:r>
              <a:rPr lang="en-US" altLang="ko-KR" sz="1400" dirty="0"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endParaRPr lang="ko-KR" altLang="en-US" sz="1400" dirty="0"/>
          </a:p>
        </p:txBody>
      </p:sp>
      <p:grpSp>
        <p:nvGrpSpPr>
          <p:cNvPr id="27" name="그룹 26"/>
          <p:cNvGrpSpPr/>
          <p:nvPr/>
        </p:nvGrpSpPr>
        <p:grpSpPr>
          <a:xfrm>
            <a:off x="925019" y="456054"/>
            <a:ext cx="433997" cy="433997"/>
            <a:chOff x="1053286" y="515021"/>
            <a:chExt cx="433997" cy="433997"/>
          </a:xfrm>
        </p:grpSpPr>
        <p:sp>
          <p:nvSpPr>
            <p:cNvPr id="28" name="Oval 45"/>
            <p:cNvSpPr/>
            <p:nvPr/>
          </p:nvSpPr>
          <p:spPr>
            <a:xfrm>
              <a:off x="1053286" y="515021"/>
              <a:ext cx="433997" cy="433997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Freeform 13"/>
            <p:cNvSpPr>
              <a:spLocks noEditPoints="1"/>
            </p:cNvSpPr>
            <p:nvPr/>
          </p:nvSpPr>
          <p:spPr bwMode="auto">
            <a:xfrm rot="10585247" flipV="1">
              <a:off x="1160800" y="600128"/>
              <a:ext cx="218969" cy="263783"/>
            </a:xfrm>
            <a:custGeom>
              <a:avLst/>
              <a:gdLst>
                <a:gd name="T0" fmla="*/ 2022 w 2403"/>
                <a:gd name="T1" fmla="*/ 144 h 2897"/>
                <a:gd name="T2" fmla="*/ 1852 w 2403"/>
                <a:gd name="T3" fmla="*/ 57 h 2897"/>
                <a:gd name="T4" fmla="*/ 1632 w 2403"/>
                <a:gd name="T5" fmla="*/ 1 h 2897"/>
                <a:gd name="T6" fmla="*/ 1548 w 2403"/>
                <a:gd name="T7" fmla="*/ 2 h 2897"/>
                <a:gd name="T8" fmla="*/ 1491 w 2403"/>
                <a:gd name="T9" fmla="*/ 23 h 2897"/>
                <a:gd name="T10" fmla="*/ 785 w 2403"/>
                <a:gd name="T11" fmla="*/ 948 h 2897"/>
                <a:gd name="T12" fmla="*/ 48 w 2403"/>
                <a:gd name="T13" fmla="*/ 1933 h 2897"/>
                <a:gd name="T14" fmla="*/ 30 w 2403"/>
                <a:gd name="T15" fmla="*/ 1995 h 2897"/>
                <a:gd name="T16" fmla="*/ 3 w 2403"/>
                <a:gd name="T17" fmla="*/ 2340 h 2897"/>
                <a:gd name="T18" fmla="*/ 7 w 2403"/>
                <a:gd name="T19" fmla="*/ 2732 h 2897"/>
                <a:gd name="T20" fmla="*/ 27 w 2403"/>
                <a:gd name="T21" fmla="*/ 2871 h 2897"/>
                <a:gd name="T22" fmla="*/ 42 w 2403"/>
                <a:gd name="T23" fmla="*/ 2891 h 2897"/>
                <a:gd name="T24" fmla="*/ 118 w 2403"/>
                <a:gd name="T25" fmla="*/ 2896 h 2897"/>
                <a:gd name="T26" fmla="*/ 340 w 2403"/>
                <a:gd name="T27" fmla="*/ 2850 h 2897"/>
                <a:gd name="T28" fmla="*/ 724 w 2403"/>
                <a:gd name="T29" fmla="*/ 2722 h 2897"/>
                <a:gd name="T30" fmla="*/ 926 w 2403"/>
                <a:gd name="T31" fmla="*/ 2628 h 2897"/>
                <a:gd name="T32" fmla="*/ 987 w 2403"/>
                <a:gd name="T33" fmla="*/ 2578 h 2897"/>
                <a:gd name="T34" fmla="*/ 1454 w 2403"/>
                <a:gd name="T35" fmla="*/ 1961 h 2897"/>
                <a:gd name="T36" fmla="*/ 2390 w 2403"/>
                <a:gd name="T37" fmla="*/ 675 h 2897"/>
                <a:gd name="T38" fmla="*/ 2403 w 2403"/>
                <a:gd name="T39" fmla="*/ 631 h 2897"/>
                <a:gd name="T40" fmla="*/ 2392 w 2403"/>
                <a:gd name="T41" fmla="*/ 562 h 2897"/>
                <a:gd name="T42" fmla="*/ 2334 w 2403"/>
                <a:gd name="T43" fmla="*/ 447 h 2897"/>
                <a:gd name="T44" fmla="*/ 2193 w 2403"/>
                <a:gd name="T45" fmla="*/ 279 h 2897"/>
                <a:gd name="T46" fmla="*/ 1398 w 2403"/>
                <a:gd name="T47" fmla="*/ 308 h 2897"/>
                <a:gd name="T48" fmla="*/ 1421 w 2403"/>
                <a:gd name="T49" fmla="*/ 290 h 2897"/>
                <a:gd name="T50" fmla="*/ 1468 w 2403"/>
                <a:gd name="T51" fmla="*/ 287 h 2897"/>
                <a:gd name="T52" fmla="*/ 1528 w 2403"/>
                <a:gd name="T53" fmla="*/ 313 h 2897"/>
                <a:gd name="T54" fmla="*/ 1580 w 2403"/>
                <a:gd name="T55" fmla="*/ 368 h 2897"/>
                <a:gd name="T56" fmla="*/ 1587 w 2403"/>
                <a:gd name="T57" fmla="*/ 409 h 2897"/>
                <a:gd name="T58" fmla="*/ 337 w 2403"/>
                <a:gd name="T59" fmla="*/ 1902 h 2897"/>
                <a:gd name="T60" fmla="*/ 473 w 2403"/>
                <a:gd name="T61" fmla="*/ 2660 h 2897"/>
                <a:gd name="T62" fmla="*/ 364 w 2403"/>
                <a:gd name="T63" fmla="*/ 2709 h 2897"/>
                <a:gd name="T64" fmla="*/ 169 w 2403"/>
                <a:gd name="T65" fmla="*/ 2764 h 2897"/>
                <a:gd name="T66" fmla="*/ 134 w 2403"/>
                <a:gd name="T67" fmla="*/ 2763 h 2897"/>
                <a:gd name="T68" fmla="*/ 125 w 2403"/>
                <a:gd name="T69" fmla="*/ 2643 h 2897"/>
                <a:gd name="T70" fmla="*/ 137 w 2403"/>
                <a:gd name="T71" fmla="*/ 2423 h 2897"/>
                <a:gd name="T72" fmla="*/ 151 w 2403"/>
                <a:gd name="T73" fmla="*/ 2404 h 2897"/>
                <a:gd name="T74" fmla="*/ 206 w 2403"/>
                <a:gd name="T75" fmla="*/ 2409 h 2897"/>
                <a:gd name="T76" fmla="*/ 355 w 2403"/>
                <a:gd name="T77" fmla="*/ 2486 h 2897"/>
                <a:gd name="T78" fmla="*/ 454 w 2403"/>
                <a:gd name="T79" fmla="*/ 2577 h 2897"/>
                <a:gd name="T80" fmla="*/ 480 w 2403"/>
                <a:gd name="T81" fmla="*/ 2630 h 2897"/>
                <a:gd name="T82" fmla="*/ 490 w 2403"/>
                <a:gd name="T83" fmla="*/ 2117 h 2897"/>
                <a:gd name="T84" fmla="*/ 1708 w 2403"/>
                <a:gd name="T85" fmla="*/ 446 h 2897"/>
                <a:gd name="T86" fmla="*/ 1748 w 2403"/>
                <a:gd name="T87" fmla="*/ 445 h 2897"/>
                <a:gd name="T88" fmla="*/ 1821 w 2403"/>
                <a:gd name="T89" fmla="*/ 478 h 2897"/>
                <a:gd name="T90" fmla="*/ 1867 w 2403"/>
                <a:gd name="T91" fmla="*/ 520 h 2897"/>
                <a:gd name="T92" fmla="*/ 1888 w 2403"/>
                <a:gd name="T93" fmla="*/ 565 h 2897"/>
                <a:gd name="T94" fmla="*/ 624 w 2403"/>
                <a:gd name="T95" fmla="*/ 2291 h 2897"/>
                <a:gd name="T96" fmla="*/ 902 w 2403"/>
                <a:gd name="T97" fmla="*/ 2386 h 2897"/>
                <a:gd name="T98" fmla="*/ 1979 w 2403"/>
                <a:gd name="T99" fmla="*/ 672 h 2897"/>
                <a:gd name="T100" fmla="*/ 2014 w 2403"/>
                <a:gd name="T101" fmla="*/ 670 h 2897"/>
                <a:gd name="T102" fmla="*/ 2067 w 2403"/>
                <a:gd name="T103" fmla="*/ 704 h 2897"/>
                <a:gd name="T104" fmla="*/ 2108 w 2403"/>
                <a:gd name="T105" fmla="*/ 754 h 2897"/>
                <a:gd name="T106" fmla="*/ 2123 w 2403"/>
                <a:gd name="T107" fmla="*/ 801 h 2897"/>
                <a:gd name="T108" fmla="*/ 2117 w 2403"/>
                <a:gd name="T109" fmla="*/ 835 h 2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403" h="2897">
                  <a:moveTo>
                    <a:pt x="2095" y="193"/>
                  </a:moveTo>
                  <a:lnTo>
                    <a:pt x="2095" y="193"/>
                  </a:lnTo>
                  <a:lnTo>
                    <a:pt x="2071" y="176"/>
                  </a:lnTo>
                  <a:lnTo>
                    <a:pt x="2046" y="159"/>
                  </a:lnTo>
                  <a:lnTo>
                    <a:pt x="2022" y="144"/>
                  </a:lnTo>
                  <a:lnTo>
                    <a:pt x="1998" y="129"/>
                  </a:lnTo>
                  <a:lnTo>
                    <a:pt x="1974" y="115"/>
                  </a:lnTo>
                  <a:lnTo>
                    <a:pt x="1948" y="101"/>
                  </a:lnTo>
                  <a:lnTo>
                    <a:pt x="1900" y="78"/>
                  </a:lnTo>
                  <a:lnTo>
                    <a:pt x="1852" y="57"/>
                  </a:lnTo>
                  <a:lnTo>
                    <a:pt x="1803" y="40"/>
                  </a:lnTo>
                  <a:lnTo>
                    <a:pt x="1757" y="25"/>
                  </a:lnTo>
                  <a:lnTo>
                    <a:pt x="1714" y="14"/>
                  </a:lnTo>
                  <a:lnTo>
                    <a:pt x="1671" y="6"/>
                  </a:lnTo>
                  <a:lnTo>
                    <a:pt x="1632" y="1"/>
                  </a:lnTo>
                  <a:lnTo>
                    <a:pt x="1613" y="0"/>
                  </a:lnTo>
                  <a:lnTo>
                    <a:pt x="1595" y="0"/>
                  </a:lnTo>
                  <a:lnTo>
                    <a:pt x="1580" y="0"/>
                  </a:lnTo>
                  <a:lnTo>
                    <a:pt x="1564" y="1"/>
                  </a:lnTo>
                  <a:lnTo>
                    <a:pt x="1548" y="2"/>
                  </a:lnTo>
                  <a:lnTo>
                    <a:pt x="1535" y="5"/>
                  </a:lnTo>
                  <a:lnTo>
                    <a:pt x="1521" y="8"/>
                  </a:lnTo>
                  <a:lnTo>
                    <a:pt x="1511" y="12"/>
                  </a:lnTo>
                  <a:lnTo>
                    <a:pt x="1500" y="17"/>
                  </a:lnTo>
                  <a:lnTo>
                    <a:pt x="1491" y="23"/>
                  </a:lnTo>
                  <a:lnTo>
                    <a:pt x="1484" y="29"/>
                  </a:lnTo>
                  <a:lnTo>
                    <a:pt x="1477" y="36"/>
                  </a:lnTo>
                  <a:lnTo>
                    <a:pt x="1477" y="36"/>
                  </a:lnTo>
                  <a:lnTo>
                    <a:pt x="1253" y="331"/>
                  </a:lnTo>
                  <a:lnTo>
                    <a:pt x="785" y="948"/>
                  </a:lnTo>
                  <a:lnTo>
                    <a:pt x="532" y="1283"/>
                  </a:lnTo>
                  <a:lnTo>
                    <a:pt x="304" y="1584"/>
                  </a:lnTo>
                  <a:lnTo>
                    <a:pt x="134" y="1813"/>
                  </a:lnTo>
                  <a:lnTo>
                    <a:pt x="78" y="1890"/>
                  </a:lnTo>
                  <a:lnTo>
                    <a:pt x="48" y="1933"/>
                  </a:lnTo>
                  <a:lnTo>
                    <a:pt x="48" y="1933"/>
                  </a:lnTo>
                  <a:lnTo>
                    <a:pt x="43" y="1943"/>
                  </a:lnTo>
                  <a:lnTo>
                    <a:pt x="38" y="1956"/>
                  </a:lnTo>
                  <a:lnTo>
                    <a:pt x="33" y="1974"/>
                  </a:lnTo>
                  <a:lnTo>
                    <a:pt x="30" y="1995"/>
                  </a:lnTo>
                  <a:lnTo>
                    <a:pt x="23" y="2047"/>
                  </a:lnTo>
                  <a:lnTo>
                    <a:pt x="15" y="2110"/>
                  </a:lnTo>
                  <a:lnTo>
                    <a:pt x="10" y="2181"/>
                  </a:lnTo>
                  <a:lnTo>
                    <a:pt x="6" y="2259"/>
                  </a:lnTo>
                  <a:lnTo>
                    <a:pt x="3" y="2340"/>
                  </a:lnTo>
                  <a:lnTo>
                    <a:pt x="1" y="2423"/>
                  </a:lnTo>
                  <a:lnTo>
                    <a:pt x="0" y="2507"/>
                  </a:lnTo>
                  <a:lnTo>
                    <a:pt x="1" y="2588"/>
                  </a:lnTo>
                  <a:lnTo>
                    <a:pt x="3" y="2663"/>
                  </a:lnTo>
                  <a:lnTo>
                    <a:pt x="7" y="2732"/>
                  </a:lnTo>
                  <a:lnTo>
                    <a:pt x="12" y="2790"/>
                  </a:lnTo>
                  <a:lnTo>
                    <a:pt x="15" y="2815"/>
                  </a:lnTo>
                  <a:lnTo>
                    <a:pt x="19" y="2837"/>
                  </a:lnTo>
                  <a:lnTo>
                    <a:pt x="23" y="2856"/>
                  </a:lnTo>
                  <a:lnTo>
                    <a:pt x="27" y="2871"/>
                  </a:lnTo>
                  <a:lnTo>
                    <a:pt x="32" y="2882"/>
                  </a:lnTo>
                  <a:lnTo>
                    <a:pt x="35" y="2885"/>
                  </a:lnTo>
                  <a:lnTo>
                    <a:pt x="37" y="2888"/>
                  </a:lnTo>
                  <a:lnTo>
                    <a:pt x="37" y="2888"/>
                  </a:lnTo>
                  <a:lnTo>
                    <a:pt x="42" y="2891"/>
                  </a:lnTo>
                  <a:lnTo>
                    <a:pt x="47" y="2893"/>
                  </a:lnTo>
                  <a:lnTo>
                    <a:pt x="60" y="2896"/>
                  </a:lnTo>
                  <a:lnTo>
                    <a:pt x="76" y="2897"/>
                  </a:lnTo>
                  <a:lnTo>
                    <a:pt x="95" y="2897"/>
                  </a:lnTo>
                  <a:lnTo>
                    <a:pt x="118" y="2896"/>
                  </a:lnTo>
                  <a:lnTo>
                    <a:pt x="144" y="2893"/>
                  </a:lnTo>
                  <a:lnTo>
                    <a:pt x="171" y="2888"/>
                  </a:lnTo>
                  <a:lnTo>
                    <a:pt x="202" y="2883"/>
                  </a:lnTo>
                  <a:lnTo>
                    <a:pt x="267" y="2868"/>
                  </a:lnTo>
                  <a:lnTo>
                    <a:pt x="340" y="2850"/>
                  </a:lnTo>
                  <a:lnTo>
                    <a:pt x="416" y="2829"/>
                  </a:lnTo>
                  <a:lnTo>
                    <a:pt x="494" y="2804"/>
                  </a:lnTo>
                  <a:lnTo>
                    <a:pt x="573" y="2778"/>
                  </a:lnTo>
                  <a:lnTo>
                    <a:pt x="650" y="2751"/>
                  </a:lnTo>
                  <a:lnTo>
                    <a:pt x="724" y="2722"/>
                  </a:lnTo>
                  <a:lnTo>
                    <a:pt x="793" y="2694"/>
                  </a:lnTo>
                  <a:lnTo>
                    <a:pt x="854" y="2666"/>
                  </a:lnTo>
                  <a:lnTo>
                    <a:pt x="880" y="2653"/>
                  </a:lnTo>
                  <a:lnTo>
                    <a:pt x="904" y="2641"/>
                  </a:lnTo>
                  <a:lnTo>
                    <a:pt x="926" y="2628"/>
                  </a:lnTo>
                  <a:lnTo>
                    <a:pt x="946" y="2617"/>
                  </a:lnTo>
                  <a:lnTo>
                    <a:pt x="960" y="2605"/>
                  </a:lnTo>
                  <a:lnTo>
                    <a:pt x="972" y="2595"/>
                  </a:lnTo>
                  <a:lnTo>
                    <a:pt x="972" y="2595"/>
                  </a:lnTo>
                  <a:lnTo>
                    <a:pt x="987" y="2578"/>
                  </a:lnTo>
                  <a:lnTo>
                    <a:pt x="1007" y="2554"/>
                  </a:lnTo>
                  <a:lnTo>
                    <a:pt x="1064" y="2480"/>
                  </a:lnTo>
                  <a:lnTo>
                    <a:pt x="1142" y="2380"/>
                  </a:lnTo>
                  <a:lnTo>
                    <a:pt x="1234" y="2257"/>
                  </a:lnTo>
                  <a:lnTo>
                    <a:pt x="1454" y="1961"/>
                  </a:lnTo>
                  <a:lnTo>
                    <a:pt x="1697" y="1630"/>
                  </a:lnTo>
                  <a:lnTo>
                    <a:pt x="1939" y="1298"/>
                  </a:lnTo>
                  <a:lnTo>
                    <a:pt x="2153" y="1004"/>
                  </a:lnTo>
                  <a:lnTo>
                    <a:pt x="2311" y="784"/>
                  </a:lnTo>
                  <a:lnTo>
                    <a:pt x="2390" y="675"/>
                  </a:lnTo>
                  <a:lnTo>
                    <a:pt x="2390" y="675"/>
                  </a:lnTo>
                  <a:lnTo>
                    <a:pt x="2395" y="665"/>
                  </a:lnTo>
                  <a:lnTo>
                    <a:pt x="2400" y="654"/>
                  </a:lnTo>
                  <a:lnTo>
                    <a:pt x="2402" y="643"/>
                  </a:lnTo>
                  <a:lnTo>
                    <a:pt x="2403" y="631"/>
                  </a:lnTo>
                  <a:lnTo>
                    <a:pt x="2403" y="618"/>
                  </a:lnTo>
                  <a:lnTo>
                    <a:pt x="2403" y="605"/>
                  </a:lnTo>
                  <a:lnTo>
                    <a:pt x="2401" y="591"/>
                  </a:lnTo>
                  <a:lnTo>
                    <a:pt x="2397" y="577"/>
                  </a:lnTo>
                  <a:lnTo>
                    <a:pt x="2392" y="562"/>
                  </a:lnTo>
                  <a:lnTo>
                    <a:pt x="2386" y="547"/>
                  </a:lnTo>
                  <a:lnTo>
                    <a:pt x="2380" y="531"/>
                  </a:lnTo>
                  <a:lnTo>
                    <a:pt x="2373" y="514"/>
                  </a:lnTo>
                  <a:lnTo>
                    <a:pt x="2355" y="481"/>
                  </a:lnTo>
                  <a:lnTo>
                    <a:pt x="2334" y="447"/>
                  </a:lnTo>
                  <a:lnTo>
                    <a:pt x="2310" y="412"/>
                  </a:lnTo>
                  <a:lnTo>
                    <a:pt x="2284" y="378"/>
                  </a:lnTo>
                  <a:lnTo>
                    <a:pt x="2255" y="345"/>
                  </a:lnTo>
                  <a:lnTo>
                    <a:pt x="2226" y="311"/>
                  </a:lnTo>
                  <a:lnTo>
                    <a:pt x="2193" y="279"/>
                  </a:lnTo>
                  <a:lnTo>
                    <a:pt x="2161" y="248"/>
                  </a:lnTo>
                  <a:lnTo>
                    <a:pt x="2128" y="220"/>
                  </a:lnTo>
                  <a:lnTo>
                    <a:pt x="2095" y="193"/>
                  </a:lnTo>
                  <a:lnTo>
                    <a:pt x="2095" y="193"/>
                  </a:lnTo>
                  <a:close/>
                  <a:moveTo>
                    <a:pt x="1398" y="308"/>
                  </a:moveTo>
                  <a:lnTo>
                    <a:pt x="1398" y="308"/>
                  </a:lnTo>
                  <a:lnTo>
                    <a:pt x="1400" y="306"/>
                  </a:lnTo>
                  <a:lnTo>
                    <a:pt x="1405" y="300"/>
                  </a:lnTo>
                  <a:lnTo>
                    <a:pt x="1415" y="294"/>
                  </a:lnTo>
                  <a:lnTo>
                    <a:pt x="1421" y="290"/>
                  </a:lnTo>
                  <a:lnTo>
                    <a:pt x="1428" y="288"/>
                  </a:lnTo>
                  <a:lnTo>
                    <a:pt x="1437" y="285"/>
                  </a:lnTo>
                  <a:lnTo>
                    <a:pt x="1445" y="284"/>
                  </a:lnTo>
                  <a:lnTo>
                    <a:pt x="1456" y="284"/>
                  </a:lnTo>
                  <a:lnTo>
                    <a:pt x="1468" y="287"/>
                  </a:lnTo>
                  <a:lnTo>
                    <a:pt x="1482" y="290"/>
                  </a:lnTo>
                  <a:lnTo>
                    <a:pt x="1495" y="295"/>
                  </a:lnTo>
                  <a:lnTo>
                    <a:pt x="1511" y="303"/>
                  </a:lnTo>
                  <a:lnTo>
                    <a:pt x="1528" y="313"/>
                  </a:lnTo>
                  <a:lnTo>
                    <a:pt x="1528" y="313"/>
                  </a:lnTo>
                  <a:lnTo>
                    <a:pt x="1542" y="325"/>
                  </a:lnTo>
                  <a:lnTo>
                    <a:pt x="1555" y="336"/>
                  </a:lnTo>
                  <a:lnTo>
                    <a:pt x="1565" y="347"/>
                  </a:lnTo>
                  <a:lnTo>
                    <a:pt x="1573" y="357"/>
                  </a:lnTo>
                  <a:lnTo>
                    <a:pt x="1580" y="368"/>
                  </a:lnTo>
                  <a:lnTo>
                    <a:pt x="1583" y="376"/>
                  </a:lnTo>
                  <a:lnTo>
                    <a:pt x="1586" y="386"/>
                  </a:lnTo>
                  <a:lnTo>
                    <a:pt x="1587" y="394"/>
                  </a:lnTo>
                  <a:lnTo>
                    <a:pt x="1588" y="401"/>
                  </a:lnTo>
                  <a:lnTo>
                    <a:pt x="1587" y="409"/>
                  </a:lnTo>
                  <a:lnTo>
                    <a:pt x="1584" y="420"/>
                  </a:lnTo>
                  <a:lnTo>
                    <a:pt x="1582" y="427"/>
                  </a:lnTo>
                  <a:lnTo>
                    <a:pt x="1581" y="429"/>
                  </a:lnTo>
                  <a:lnTo>
                    <a:pt x="337" y="2076"/>
                  </a:lnTo>
                  <a:lnTo>
                    <a:pt x="337" y="1902"/>
                  </a:lnTo>
                  <a:lnTo>
                    <a:pt x="239" y="1865"/>
                  </a:lnTo>
                  <a:lnTo>
                    <a:pt x="1398" y="308"/>
                  </a:lnTo>
                  <a:close/>
                  <a:moveTo>
                    <a:pt x="475" y="2657"/>
                  </a:moveTo>
                  <a:lnTo>
                    <a:pt x="475" y="2657"/>
                  </a:lnTo>
                  <a:lnTo>
                    <a:pt x="473" y="2660"/>
                  </a:lnTo>
                  <a:lnTo>
                    <a:pt x="469" y="2664"/>
                  </a:lnTo>
                  <a:lnTo>
                    <a:pt x="456" y="2671"/>
                  </a:lnTo>
                  <a:lnTo>
                    <a:pt x="439" y="2680"/>
                  </a:lnTo>
                  <a:lnTo>
                    <a:pt x="417" y="2689"/>
                  </a:lnTo>
                  <a:lnTo>
                    <a:pt x="364" y="2709"/>
                  </a:lnTo>
                  <a:lnTo>
                    <a:pt x="304" y="2729"/>
                  </a:lnTo>
                  <a:lnTo>
                    <a:pt x="244" y="2746"/>
                  </a:lnTo>
                  <a:lnTo>
                    <a:pt x="216" y="2754"/>
                  </a:lnTo>
                  <a:lnTo>
                    <a:pt x="191" y="2760"/>
                  </a:lnTo>
                  <a:lnTo>
                    <a:pt x="169" y="2764"/>
                  </a:lnTo>
                  <a:lnTo>
                    <a:pt x="152" y="2767"/>
                  </a:lnTo>
                  <a:lnTo>
                    <a:pt x="140" y="2767"/>
                  </a:lnTo>
                  <a:lnTo>
                    <a:pt x="135" y="2766"/>
                  </a:lnTo>
                  <a:lnTo>
                    <a:pt x="134" y="2763"/>
                  </a:lnTo>
                  <a:lnTo>
                    <a:pt x="134" y="2763"/>
                  </a:lnTo>
                  <a:lnTo>
                    <a:pt x="130" y="2756"/>
                  </a:lnTo>
                  <a:lnTo>
                    <a:pt x="129" y="2743"/>
                  </a:lnTo>
                  <a:lnTo>
                    <a:pt x="127" y="2723"/>
                  </a:lnTo>
                  <a:lnTo>
                    <a:pt x="127" y="2700"/>
                  </a:lnTo>
                  <a:lnTo>
                    <a:pt x="125" y="2643"/>
                  </a:lnTo>
                  <a:lnTo>
                    <a:pt x="127" y="2581"/>
                  </a:lnTo>
                  <a:lnTo>
                    <a:pt x="129" y="2518"/>
                  </a:lnTo>
                  <a:lnTo>
                    <a:pt x="133" y="2462"/>
                  </a:lnTo>
                  <a:lnTo>
                    <a:pt x="135" y="2440"/>
                  </a:lnTo>
                  <a:lnTo>
                    <a:pt x="137" y="2423"/>
                  </a:lnTo>
                  <a:lnTo>
                    <a:pt x="140" y="2411"/>
                  </a:lnTo>
                  <a:lnTo>
                    <a:pt x="141" y="2407"/>
                  </a:lnTo>
                  <a:lnTo>
                    <a:pt x="142" y="2406"/>
                  </a:lnTo>
                  <a:lnTo>
                    <a:pt x="142" y="2406"/>
                  </a:lnTo>
                  <a:lnTo>
                    <a:pt x="151" y="2404"/>
                  </a:lnTo>
                  <a:lnTo>
                    <a:pt x="159" y="2403"/>
                  </a:lnTo>
                  <a:lnTo>
                    <a:pt x="170" y="2403"/>
                  </a:lnTo>
                  <a:lnTo>
                    <a:pt x="181" y="2404"/>
                  </a:lnTo>
                  <a:lnTo>
                    <a:pt x="193" y="2406"/>
                  </a:lnTo>
                  <a:lnTo>
                    <a:pt x="206" y="2409"/>
                  </a:lnTo>
                  <a:lnTo>
                    <a:pt x="234" y="2418"/>
                  </a:lnTo>
                  <a:lnTo>
                    <a:pt x="263" y="2432"/>
                  </a:lnTo>
                  <a:lnTo>
                    <a:pt x="295" y="2447"/>
                  </a:lnTo>
                  <a:lnTo>
                    <a:pt x="325" y="2466"/>
                  </a:lnTo>
                  <a:lnTo>
                    <a:pt x="355" y="2486"/>
                  </a:lnTo>
                  <a:lnTo>
                    <a:pt x="384" y="2508"/>
                  </a:lnTo>
                  <a:lnTo>
                    <a:pt x="411" y="2531"/>
                  </a:lnTo>
                  <a:lnTo>
                    <a:pt x="435" y="2554"/>
                  </a:lnTo>
                  <a:lnTo>
                    <a:pt x="445" y="2565"/>
                  </a:lnTo>
                  <a:lnTo>
                    <a:pt x="454" y="2577"/>
                  </a:lnTo>
                  <a:lnTo>
                    <a:pt x="462" y="2588"/>
                  </a:lnTo>
                  <a:lnTo>
                    <a:pt x="469" y="2599"/>
                  </a:lnTo>
                  <a:lnTo>
                    <a:pt x="474" y="2610"/>
                  </a:lnTo>
                  <a:lnTo>
                    <a:pt x="477" y="2620"/>
                  </a:lnTo>
                  <a:lnTo>
                    <a:pt x="480" y="2630"/>
                  </a:lnTo>
                  <a:lnTo>
                    <a:pt x="480" y="2640"/>
                  </a:lnTo>
                  <a:lnTo>
                    <a:pt x="479" y="2649"/>
                  </a:lnTo>
                  <a:lnTo>
                    <a:pt x="475" y="2657"/>
                  </a:lnTo>
                  <a:lnTo>
                    <a:pt x="475" y="2657"/>
                  </a:lnTo>
                  <a:close/>
                  <a:moveTo>
                    <a:pt x="490" y="2117"/>
                  </a:moveTo>
                  <a:lnTo>
                    <a:pt x="1692" y="455"/>
                  </a:lnTo>
                  <a:lnTo>
                    <a:pt x="1692" y="455"/>
                  </a:lnTo>
                  <a:lnTo>
                    <a:pt x="1694" y="453"/>
                  </a:lnTo>
                  <a:lnTo>
                    <a:pt x="1699" y="450"/>
                  </a:lnTo>
                  <a:lnTo>
                    <a:pt x="1708" y="446"/>
                  </a:lnTo>
                  <a:lnTo>
                    <a:pt x="1713" y="444"/>
                  </a:lnTo>
                  <a:lnTo>
                    <a:pt x="1720" y="443"/>
                  </a:lnTo>
                  <a:lnTo>
                    <a:pt x="1728" y="443"/>
                  </a:lnTo>
                  <a:lnTo>
                    <a:pt x="1737" y="444"/>
                  </a:lnTo>
                  <a:lnTo>
                    <a:pt x="1748" y="445"/>
                  </a:lnTo>
                  <a:lnTo>
                    <a:pt x="1760" y="449"/>
                  </a:lnTo>
                  <a:lnTo>
                    <a:pt x="1773" y="452"/>
                  </a:lnTo>
                  <a:lnTo>
                    <a:pt x="1788" y="460"/>
                  </a:lnTo>
                  <a:lnTo>
                    <a:pt x="1803" y="468"/>
                  </a:lnTo>
                  <a:lnTo>
                    <a:pt x="1821" y="478"/>
                  </a:lnTo>
                  <a:lnTo>
                    <a:pt x="1821" y="478"/>
                  </a:lnTo>
                  <a:lnTo>
                    <a:pt x="1836" y="489"/>
                  </a:lnTo>
                  <a:lnTo>
                    <a:pt x="1849" y="499"/>
                  </a:lnTo>
                  <a:lnTo>
                    <a:pt x="1859" y="509"/>
                  </a:lnTo>
                  <a:lnTo>
                    <a:pt x="1867" y="520"/>
                  </a:lnTo>
                  <a:lnTo>
                    <a:pt x="1875" y="530"/>
                  </a:lnTo>
                  <a:lnTo>
                    <a:pt x="1880" y="539"/>
                  </a:lnTo>
                  <a:lnTo>
                    <a:pt x="1883" y="549"/>
                  </a:lnTo>
                  <a:lnTo>
                    <a:pt x="1887" y="558"/>
                  </a:lnTo>
                  <a:lnTo>
                    <a:pt x="1888" y="565"/>
                  </a:lnTo>
                  <a:lnTo>
                    <a:pt x="1888" y="572"/>
                  </a:lnTo>
                  <a:lnTo>
                    <a:pt x="1888" y="584"/>
                  </a:lnTo>
                  <a:lnTo>
                    <a:pt x="1887" y="591"/>
                  </a:lnTo>
                  <a:lnTo>
                    <a:pt x="1886" y="594"/>
                  </a:lnTo>
                  <a:lnTo>
                    <a:pt x="624" y="2291"/>
                  </a:lnTo>
                  <a:lnTo>
                    <a:pt x="624" y="2094"/>
                  </a:lnTo>
                  <a:lnTo>
                    <a:pt x="490" y="2117"/>
                  </a:lnTo>
                  <a:close/>
                  <a:moveTo>
                    <a:pt x="2117" y="835"/>
                  </a:moveTo>
                  <a:lnTo>
                    <a:pt x="937" y="2462"/>
                  </a:lnTo>
                  <a:lnTo>
                    <a:pt x="902" y="2386"/>
                  </a:lnTo>
                  <a:lnTo>
                    <a:pt x="750" y="2359"/>
                  </a:lnTo>
                  <a:lnTo>
                    <a:pt x="1973" y="677"/>
                  </a:lnTo>
                  <a:lnTo>
                    <a:pt x="1973" y="677"/>
                  </a:lnTo>
                  <a:lnTo>
                    <a:pt x="1975" y="676"/>
                  </a:lnTo>
                  <a:lnTo>
                    <a:pt x="1979" y="672"/>
                  </a:lnTo>
                  <a:lnTo>
                    <a:pt x="1987" y="669"/>
                  </a:lnTo>
                  <a:lnTo>
                    <a:pt x="1992" y="669"/>
                  </a:lnTo>
                  <a:lnTo>
                    <a:pt x="1998" y="668"/>
                  </a:lnTo>
                  <a:lnTo>
                    <a:pt x="2005" y="669"/>
                  </a:lnTo>
                  <a:lnTo>
                    <a:pt x="2014" y="670"/>
                  </a:lnTo>
                  <a:lnTo>
                    <a:pt x="2022" y="674"/>
                  </a:lnTo>
                  <a:lnTo>
                    <a:pt x="2032" y="679"/>
                  </a:lnTo>
                  <a:lnTo>
                    <a:pt x="2043" y="685"/>
                  </a:lnTo>
                  <a:lnTo>
                    <a:pt x="2055" y="693"/>
                  </a:lnTo>
                  <a:lnTo>
                    <a:pt x="2067" y="704"/>
                  </a:lnTo>
                  <a:lnTo>
                    <a:pt x="2080" y="718"/>
                  </a:lnTo>
                  <a:lnTo>
                    <a:pt x="2080" y="718"/>
                  </a:lnTo>
                  <a:lnTo>
                    <a:pt x="2091" y="731"/>
                  </a:lnTo>
                  <a:lnTo>
                    <a:pt x="2101" y="741"/>
                  </a:lnTo>
                  <a:lnTo>
                    <a:pt x="2108" y="754"/>
                  </a:lnTo>
                  <a:lnTo>
                    <a:pt x="2113" y="764"/>
                  </a:lnTo>
                  <a:lnTo>
                    <a:pt x="2118" y="774"/>
                  </a:lnTo>
                  <a:lnTo>
                    <a:pt x="2120" y="784"/>
                  </a:lnTo>
                  <a:lnTo>
                    <a:pt x="2121" y="793"/>
                  </a:lnTo>
                  <a:lnTo>
                    <a:pt x="2123" y="801"/>
                  </a:lnTo>
                  <a:lnTo>
                    <a:pt x="2121" y="815"/>
                  </a:lnTo>
                  <a:lnTo>
                    <a:pt x="2120" y="826"/>
                  </a:lnTo>
                  <a:lnTo>
                    <a:pt x="2118" y="832"/>
                  </a:lnTo>
                  <a:lnTo>
                    <a:pt x="2117" y="835"/>
                  </a:lnTo>
                  <a:lnTo>
                    <a:pt x="2117" y="83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96403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18000"/>
                    </a14:imgEffect>
                    <a14:imgEffect>
                      <a14:brightnessContrast bright="100000" contrast="-5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4008" y="3573016"/>
            <a:ext cx="4334791" cy="3077702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1186271" y="486114"/>
            <a:ext cx="7667237" cy="3631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200" dirty="0" smtClean="0">
                <a:solidFill>
                  <a:schemeClr val="accent1">
                    <a:lumMod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쇄신과제 </a:t>
            </a:r>
            <a:r>
              <a:rPr lang="ko-KR" altLang="en-US" sz="2200" dirty="0" smtClean="0">
                <a:solidFill>
                  <a:schemeClr val="accent1">
                    <a:lumMod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⑩ 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보건복지분야 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안전관리」 강화</a:t>
            </a:r>
            <a:endParaRPr lang="en-US" sz="220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79815" y="1310879"/>
            <a:ext cx="8124633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&lt;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보건의료복지분야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&gt;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저소득층 및 고령자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장애인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어린이 등의 안전관련 시설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제도 강화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요양병원 등 사회복지시설의 화재 등 취약부분 단계적 보완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복지사각지대 해소차원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쪽방촌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노숙자 숙소 등 안전점검 지속적 관리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개선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보건의료시설 안전점검 정례화 및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사고시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응급대응 능력 제고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&lt;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식품안전분야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&gt;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건강식품 및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의약외품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안전관리 강화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·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지역별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지방별 다양한 건강식품 및 </a:t>
            </a:r>
            <a:r>
              <a:rPr lang="ko-KR" altLang="en-US" sz="140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의약외품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제조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판매 증가</a:t>
            </a:r>
            <a:endParaRPr lang="en-US" altLang="ko-KR" sz="14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·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관련 불법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부정 판매 유통에 대한 단속 철저 및 처벌강화</a:t>
            </a:r>
            <a:endParaRPr lang="en-US" altLang="ko-KR" sz="14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수입 前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통관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유통단계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유통 後 복용단계 등 수입식품 안전관리 강화</a:t>
            </a:r>
            <a:endParaRPr lang="ko-KR" altLang="en-US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grpSp>
        <p:nvGrpSpPr>
          <p:cNvPr id="15" name="Group 50"/>
          <p:cNvGrpSpPr/>
          <p:nvPr/>
        </p:nvGrpSpPr>
        <p:grpSpPr>
          <a:xfrm>
            <a:off x="-1122" y="-81403"/>
            <a:ext cx="1113136" cy="1236229"/>
            <a:chOff x="-9097" y="-96310"/>
            <a:chExt cx="974935" cy="1025474"/>
          </a:xfrm>
        </p:grpSpPr>
        <p:sp>
          <p:nvSpPr>
            <p:cNvPr id="16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 rot="18886281">
              <a:off x="58852" y="187690"/>
              <a:ext cx="770174" cy="20217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7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9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9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18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그림 1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-8274" y="724510"/>
            <a:ext cx="252257" cy="120873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>
          <a:xfrm>
            <a:off x="1203992" y="5765568"/>
            <a:ext cx="7245876" cy="5211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종합적인 대책 강구 및 제도개선 등 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안전관리체계 확립</a:t>
            </a:r>
            <a:endParaRPr lang="ko-KR" altLang="en-US" sz="22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9" name="오른쪽 화살표 28"/>
          <p:cNvSpPr/>
          <p:nvPr/>
        </p:nvSpPr>
        <p:spPr>
          <a:xfrm>
            <a:off x="760962" y="5909657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27" name="그룹 26"/>
          <p:cNvGrpSpPr/>
          <p:nvPr/>
        </p:nvGrpSpPr>
        <p:grpSpPr>
          <a:xfrm>
            <a:off x="1475656" y="436953"/>
            <a:ext cx="433997" cy="433997"/>
            <a:chOff x="1053286" y="515021"/>
            <a:chExt cx="433997" cy="433997"/>
          </a:xfrm>
        </p:grpSpPr>
        <p:sp>
          <p:nvSpPr>
            <p:cNvPr id="28" name="Oval 45"/>
            <p:cNvSpPr/>
            <p:nvPr/>
          </p:nvSpPr>
          <p:spPr>
            <a:xfrm>
              <a:off x="1053286" y="515021"/>
              <a:ext cx="433997" cy="433997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Freeform 13"/>
            <p:cNvSpPr>
              <a:spLocks noEditPoints="1"/>
            </p:cNvSpPr>
            <p:nvPr/>
          </p:nvSpPr>
          <p:spPr bwMode="auto">
            <a:xfrm rot="10585247" flipV="1">
              <a:off x="1160800" y="600128"/>
              <a:ext cx="218969" cy="263783"/>
            </a:xfrm>
            <a:custGeom>
              <a:avLst/>
              <a:gdLst>
                <a:gd name="T0" fmla="*/ 2022 w 2403"/>
                <a:gd name="T1" fmla="*/ 144 h 2897"/>
                <a:gd name="T2" fmla="*/ 1852 w 2403"/>
                <a:gd name="T3" fmla="*/ 57 h 2897"/>
                <a:gd name="T4" fmla="*/ 1632 w 2403"/>
                <a:gd name="T5" fmla="*/ 1 h 2897"/>
                <a:gd name="T6" fmla="*/ 1548 w 2403"/>
                <a:gd name="T7" fmla="*/ 2 h 2897"/>
                <a:gd name="T8" fmla="*/ 1491 w 2403"/>
                <a:gd name="T9" fmla="*/ 23 h 2897"/>
                <a:gd name="T10" fmla="*/ 785 w 2403"/>
                <a:gd name="T11" fmla="*/ 948 h 2897"/>
                <a:gd name="T12" fmla="*/ 48 w 2403"/>
                <a:gd name="T13" fmla="*/ 1933 h 2897"/>
                <a:gd name="T14" fmla="*/ 30 w 2403"/>
                <a:gd name="T15" fmla="*/ 1995 h 2897"/>
                <a:gd name="T16" fmla="*/ 3 w 2403"/>
                <a:gd name="T17" fmla="*/ 2340 h 2897"/>
                <a:gd name="T18" fmla="*/ 7 w 2403"/>
                <a:gd name="T19" fmla="*/ 2732 h 2897"/>
                <a:gd name="T20" fmla="*/ 27 w 2403"/>
                <a:gd name="T21" fmla="*/ 2871 h 2897"/>
                <a:gd name="T22" fmla="*/ 42 w 2403"/>
                <a:gd name="T23" fmla="*/ 2891 h 2897"/>
                <a:gd name="T24" fmla="*/ 118 w 2403"/>
                <a:gd name="T25" fmla="*/ 2896 h 2897"/>
                <a:gd name="T26" fmla="*/ 340 w 2403"/>
                <a:gd name="T27" fmla="*/ 2850 h 2897"/>
                <a:gd name="T28" fmla="*/ 724 w 2403"/>
                <a:gd name="T29" fmla="*/ 2722 h 2897"/>
                <a:gd name="T30" fmla="*/ 926 w 2403"/>
                <a:gd name="T31" fmla="*/ 2628 h 2897"/>
                <a:gd name="T32" fmla="*/ 987 w 2403"/>
                <a:gd name="T33" fmla="*/ 2578 h 2897"/>
                <a:gd name="T34" fmla="*/ 1454 w 2403"/>
                <a:gd name="T35" fmla="*/ 1961 h 2897"/>
                <a:gd name="T36" fmla="*/ 2390 w 2403"/>
                <a:gd name="T37" fmla="*/ 675 h 2897"/>
                <a:gd name="T38" fmla="*/ 2403 w 2403"/>
                <a:gd name="T39" fmla="*/ 631 h 2897"/>
                <a:gd name="T40" fmla="*/ 2392 w 2403"/>
                <a:gd name="T41" fmla="*/ 562 h 2897"/>
                <a:gd name="T42" fmla="*/ 2334 w 2403"/>
                <a:gd name="T43" fmla="*/ 447 h 2897"/>
                <a:gd name="T44" fmla="*/ 2193 w 2403"/>
                <a:gd name="T45" fmla="*/ 279 h 2897"/>
                <a:gd name="T46" fmla="*/ 1398 w 2403"/>
                <a:gd name="T47" fmla="*/ 308 h 2897"/>
                <a:gd name="T48" fmla="*/ 1421 w 2403"/>
                <a:gd name="T49" fmla="*/ 290 h 2897"/>
                <a:gd name="T50" fmla="*/ 1468 w 2403"/>
                <a:gd name="T51" fmla="*/ 287 h 2897"/>
                <a:gd name="T52" fmla="*/ 1528 w 2403"/>
                <a:gd name="T53" fmla="*/ 313 h 2897"/>
                <a:gd name="T54" fmla="*/ 1580 w 2403"/>
                <a:gd name="T55" fmla="*/ 368 h 2897"/>
                <a:gd name="T56" fmla="*/ 1587 w 2403"/>
                <a:gd name="T57" fmla="*/ 409 h 2897"/>
                <a:gd name="T58" fmla="*/ 337 w 2403"/>
                <a:gd name="T59" fmla="*/ 1902 h 2897"/>
                <a:gd name="T60" fmla="*/ 473 w 2403"/>
                <a:gd name="T61" fmla="*/ 2660 h 2897"/>
                <a:gd name="T62" fmla="*/ 364 w 2403"/>
                <a:gd name="T63" fmla="*/ 2709 h 2897"/>
                <a:gd name="T64" fmla="*/ 169 w 2403"/>
                <a:gd name="T65" fmla="*/ 2764 h 2897"/>
                <a:gd name="T66" fmla="*/ 134 w 2403"/>
                <a:gd name="T67" fmla="*/ 2763 h 2897"/>
                <a:gd name="T68" fmla="*/ 125 w 2403"/>
                <a:gd name="T69" fmla="*/ 2643 h 2897"/>
                <a:gd name="T70" fmla="*/ 137 w 2403"/>
                <a:gd name="T71" fmla="*/ 2423 h 2897"/>
                <a:gd name="T72" fmla="*/ 151 w 2403"/>
                <a:gd name="T73" fmla="*/ 2404 h 2897"/>
                <a:gd name="T74" fmla="*/ 206 w 2403"/>
                <a:gd name="T75" fmla="*/ 2409 h 2897"/>
                <a:gd name="T76" fmla="*/ 355 w 2403"/>
                <a:gd name="T77" fmla="*/ 2486 h 2897"/>
                <a:gd name="T78" fmla="*/ 454 w 2403"/>
                <a:gd name="T79" fmla="*/ 2577 h 2897"/>
                <a:gd name="T80" fmla="*/ 480 w 2403"/>
                <a:gd name="T81" fmla="*/ 2630 h 2897"/>
                <a:gd name="T82" fmla="*/ 490 w 2403"/>
                <a:gd name="T83" fmla="*/ 2117 h 2897"/>
                <a:gd name="T84" fmla="*/ 1708 w 2403"/>
                <a:gd name="T85" fmla="*/ 446 h 2897"/>
                <a:gd name="T86" fmla="*/ 1748 w 2403"/>
                <a:gd name="T87" fmla="*/ 445 h 2897"/>
                <a:gd name="T88" fmla="*/ 1821 w 2403"/>
                <a:gd name="T89" fmla="*/ 478 h 2897"/>
                <a:gd name="T90" fmla="*/ 1867 w 2403"/>
                <a:gd name="T91" fmla="*/ 520 h 2897"/>
                <a:gd name="T92" fmla="*/ 1888 w 2403"/>
                <a:gd name="T93" fmla="*/ 565 h 2897"/>
                <a:gd name="T94" fmla="*/ 624 w 2403"/>
                <a:gd name="T95" fmla="*/ 2291 h 2897"/>
                <a:gd name="T96" fmla="*/ 902 w 2403"/>
                <a:gd name="T97" fmla="*/ 2386 h 2897"/>
                <a:gd name="T98" fmla="*/ 1979 w 2403"/>
                <a:gd name="T99" fmla="*/ 672 h 2897"/>
                <a:gd name="T100" fmla="*/ 2014 w 2403"/>
                <a:gd name="T101" fmla="*/ 670 h 2897"/>
                <a:gd name="T102" fmla="*/ 2067 w 2403"/>
                <a:gd name="T103" fmla="*/ 704 h 2897"/>
                <a:gd name="T104" fmla="*/ 2108 w 2403"/>
                <a:gd name="T105" fmla="*/ 754 h 2897"/>
                <a:gd name="T106" fmla="*/ 2123 w 2403"/>
                <a:gd name="T107" fmla="*/ 801 h 2897"/>
                <a:gd name="T108" fmla="*/ 2117 w 2403"/>
                <a:gd name="T109" fmla="*/ 835 h 2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403" h="2897">
                  <a:moveTo>
                    <a:pt x="2095" y="193"/>
                  </a:moveTo>
                  <a:lnTo>
                    <a:pt x="2095" y="193"/>
                  </a:lnTo>
                  <a:lnTo>
                    <a:pt x="2071" y="176"/>
                  </a:lnTo>
                  <a:lnTo>
                    <a:pt x="2046" y="159"/>
                  </a:lnTo>
                  <a:lnTo>
                    <a:pt x="2022" y="144"/>
                  </a:lnTo>
                  <a:lnTo>
                    <a:pt x="1998" y="129"/>
                  </a:lnTo>
                  <a:lnTo>
                    <a:pt x="1974" y="115"/>
                  </a:lnTo>
                  <a:lnTo>
                    <a:pt x="1948" y="101"/>
                  </a:lnTo>
                  <a:lnTo>
                    <a:pt x="1900" y="78"/>
                  </a:lnTo>
                  <a:lnTo>
                    <a:pt x="1852" y="57"/>
                  </a:lnTo>
                  <a:lnTo>
                    <a:pt x="1803" y="40"/>
                  </a:lnTo>
                  <a:lnTo>
                    <a:pt x="1757" y="25"/>
                  </a:lnTo>
                  <a:lnTo>
                    <a:pt x="1714" y="14"/>
                  </a:lnTo>
                  <a:lnTo>
                    <a:pt x="1671" y="6"/>
                  </a:lnTo>
                  <a:lnTo>
                    <a:pt x="1632" y="1"/>
                  </a:lnTo>
                  <a:lnTo>
                    <a:pt x="1613" y="0"/>
                  </a:lnTo>
                  <a:lnTo>
                    <a:pt x="1595" y="0"/>
                  </a:lnTo>
                  <a:lnTo>
                    <a:pt x="1580" y="0"/>
                  </a:lnTo>
                  <a:lnTo>
                    <a:pt x="1564" y="1"/>
                  </a:lnTo>
                  <a:lnTo>
                    <a:pt x="1548" y="2"/>
                  </a:lnTo>
                  <a:lnTo>
                    <a:pt x="1535" y="5"/>
                  </a:lnTo>
                  <a:lnTo>
                    <a:pt x="1521" y="8"/>
                  </a:lnTo>
                  <a:lnTo>
                    <a:pt x="1511" y="12"/>
                  </a:lnTo>
                  <a:lnTo>
                    <a:pt x="1500" y="17"/>
                  </a:lnTo>
                  <a:lnTo>
                    <a:pt x="1491" y="23"/>
                  </a:lnTo>
                  <a:lnTo>
                    <a:pt x="1484" y="29"/>
                  </a:lnTo>
                  <a:lnTo>
                    <a:pt x="1477" y="36"/>
                  </a:lnTo>
                  <a:lnTo>
                    <a:pt x="1477" y="36"/>
                  </a:lnTo>
                  <a:lnTo>
                    <a:pt x="1253" y="331"/>
                  </a:lnTo>
                  <a:lnTo>
                    <a:pt x="785" y="948"/>
                  </a:lnTo>
                  <a:lnTo>
                    <a:pt x="532" y="1283"/>
                  </a:lnTo>
                  <a:lnTo>
                    <a:pt x="304" y="1584"/>
                  </a:lnTo>
                  <a:lnTo>
                    <a:pt x="134" y="1813"/>
                  </a:lnTo>
                  <a:lnTo>
                    <a:pt x="78" y="1890"/>
                  </a:lnTo>
                  <a:lnTo>
                    <a:pt x="48" y="1933"/>
                  </a:lnTo>
                  <a:lnTo>
                    <a:pt x="48" y="1933"/>
                  </a:lnTo>
                  <a:lnTo>
                    <a:pt x="43" y="1943"/>
                  </a:lnTo>
                  <a:lnTo>
                    <a:pt x="38" y="1956"/>
                  </a:lnTo>
                  <a:lnTo>
                    <a:pt x="33" y="1974"/>
                  </a:lnTo>
                  <a:lnTo>
                    <a:pt x="30" y="1995"/>
                  </a:lnTo>
                  <a:lnTo>
                    <a:pt x="23" y="2047"/>
                  </a:lnTo>
                  <a:lnTo>
                    <a:pt x="15" y="2110"/>
                  </a:lnTo>
                  <a:lnTo>
                    <a:pt x="10" y="2181"/>
                  </a:lnTo>
                  <a:lnTo>
                    <a:pt x="6" y="2259"/>
                  </a:lnTo>
                  <a:lnTo>
                    <a:pt x="3" y="2340"/>
                  </a:lnTo>
                  <a:lnTo>
                    <a:pt x="1" y="2423"/>
                  </a:lnTo>
                  <a:lnTo>
                    <a:pt x="0" y="2507"/>
                  </a:lnTo>
                  <a:lnTo>
                    <a:pt x="1" y="2588"/>
                  </a:lnTo>
                  <a:lnTo>
                    <a:pt x="3" y="2663"/>
                  </a:lnTo>
                  <a:lnTo>
                    <a:pt x="7" y="2732"/>
                  </a:lnTo>
                  <a:lnTo>
                    <a:pt x="12" y="2790"/>
                  </a:lnTo>
                  <a:lnTo>
                    <a:pt x="15" y="2815"/>
                  </a:lnTo>
                  <a:lnTo>
                    <a:pt x="19" y="2837"/>
                  </a:lnTo>
                  <a:lnTo>
                    <a:pt x="23" y="2856"/>
                  </a:lnTo>
                  <a:lnTo>
                    <a:pt x="27" y="2871"/>
                  </a:lnTo>
                  <a:lnTo>
                    <a:pt x="32" y="2882"/>
                  </a:lnTo>
                  <a:lnTo>
                    <a:pt x="35" y="2885"/>
                  </a:lnTo>
                  <a:lnTo>
                    <a:pt x="37" y="2888"/>
                  </a:lnTo>
                  <a:lnTo>
                    <a:pt x="37" y="2888"/>
                  </a:lnTo>
                  <a:lnTo>
                    <a:pt x="42" y="2891"/>
                  </a:lnTo>
                  <a:lnTo>
                    <a:pt x="47" y="2893"/>
                  </a:lnTo>
                  <a:lnTo>
                    <a:pt x="60" y="2896"/>
                  </a:lnTo>
                  <a:lnTo>
                    <a:pt x="76" y="2897"/>
                  </a:lnTo>
                  <a:lnTo>
                    <a:pt x="95" y="2897"/>
                  </a:lnTo>
                  <a:lnTo>
                    <a:pt x="118" y="2896"/>
                  </a:lnTo>
                  <a:lnTo>
                    <a:pt x="144" y="2893"/>
                  </a:lnTo>
                  <a:lnTo>
                    <a:pt x="171" y="2888"/>
                  </a:lnTo>
                  <a:lnTo>
                    <a:pt x="202" y="2883"/>
                  </a:lnTo>
                  <a:lnTo>
                    <a:pt x="267" y="2868"/>
                  </a:lnTo>
                  <a:lnTo>
                    <a:pt x="340" y="2850"/>
                  </a:lnTo>
                  <a:lnTo>
                    <a:pt x="416" y="2829"/>
                  </a:lnTo>
                  <a:lnTo>
                    <a:pt x="494" y="2804"/>
                  </a:lnTo>
                  <a:lnTo>
                    <a:pt x="573" y="2778"/>
                  </a:lnTo>
                  <a:lnTo>
                    <a:pt x="650" y="2751"/>
                  </a:lnTo>
                  <a:lnTo>
                    <a:pt x="724" y="2722"/>
                  </a:lnTo>
                  <a:lnTo>
                    <a:pt x="793" y="2694"/>
                  </a:lnTo>
                  <a:lnTo>
                    <a:pt x="854" y="2666"/>
                  </a:lnTo>
                  <a:lnTo>
                    <a:pt x="880" y="2653"/>
                  </a:lnTo>
                  <a:lnTo>
                    <a:pt x="904" y="2641"/>
                  </a:lnTo>
                  <a:lnTo>
                    <a:pt x="926" y="2628"/>
                  </a:lnTo>
                  <a:lnTo>
                    <a:pt x="946" y="2617"/>
                  </a:lnTo>
                  <a:lnTo>
                    <a:pt x="960" y="2605"/>
                  </a:lnTo>
                  <a:lnTo>
                    <a:pt x="972" y="2595"/>
                  </a:lnTo>
                  <a:lnTo>
                    <a:pt x="972" y="2595"/>
                  </a:lnTo>
                  <a:lnTo>
                    <a:pt x="987" y="2578"/>
                  </a:lnTo>
                  <a:lnTo>
                    <a:pt x="1007" y="2554"/>
                  </a:lnTo>
                  <a:lnTo>
                    <a:pt x="1064" y="2480"/>
                  </a:lnTo>
                  <a:lnTo>
                    <a:pt x="1142" y="2380"/>
                  </a:lnTo>
                  <a:lnTo>
                    <a:pt x="1234" y="2257"/>
                  </a:lnTo>
                  <a:lnTo>
                    <a:pt x="1454" y="1961"/>
                  </a:lnTo>
                  <a:lnTo>
                    <a:pt x="1697" y="1630"/>
                  </a:lnTo>
                  <a:lnTo>
                    <a:pt x="1939" y="1298"/>
                  </a:lnTo>
                  <a:lnTo>
                    <a:pt x="2153" y="1004"/>
                  </a:lnTo>
                  <a:lnTo>
                    <a:pt x="2311" y="784"/>
                  </a:lnTo>
                  <a:lnTo>
                    <a:pt x="2390" y="675"/>
                  </a:lnTo>
                  <a:lnTo>
                    <a:pt x="2390" y="675"/>
                  </a:lnTo>
                  <a:lnTo>
                    <a:pt x="2395" y="665"/>
                  </a:lnTo>
                  <a:lnTo>
                    <a:pt x="2400" y="654"/>
                  </a:lnTo>
                  <a:lnTo>
                    <a:pt x="2402" y="643"/>
                  </a:lnTo>
                  <a:lnTo>
                    <a:pt x="2403" y="631"/>
                  </a:lnTo>
                  <a:lnTo>
                    <a:pt x="2403" y="618"/>
                  </a:lnTo>
                  <a:lnTo>
                    <a:pt x="2403" y="605"/>
                  </a:lnTo>
                  <a:lnTo>
                    <a:pt x="2401" y="591"/>
                  </a:lnTo>
                  <a:lnTo>
                    <a:pt x="2397" y="577"/>
                  </a:lnTo>
                  <a:lnTo>
                    <a:pt x="2392" y="562"/>
                  </a:lnTo>
                  <a:lnTo>
                    <a:pt x="2386" y="547"/>
                  </a:lnTo>
                  <a:lnTo>
                    <a:pt x="2380" y="531"/>
                  </a:lnTo>
                  <a:lnTo>
                    <a:pt x="2373" y="514"/>
                  </a:lnTo>
                  <a:lnTo>
                    <a:pt x="2355" y="481"/>
                  </a:lnTo>
                  <a:lnTo>
                    <a:pt x="2334" y="447"/>
                  </a:lnTo>
                  <a:lnTo>
                    <a:pt x="2310" y="412"/>
                  </a:lnTo>
                  <a:lnTo>
                    <a:pt x="2284" y="378"/>
                  </a:lnTo>
                  <a:lnTo>
                    <a:pt x="2255" y="345"/>
                  </a:lnTo>
                  <a:lnTo>
                    <a:pt x="2226" y="311"/>
                  </a:lnTo>
                  <a:lnTo>
                    <a:pt x="2193" y="279"/>
                  </a:lnTo>
                  <a:lnTo>
                    <a:pt x="2161" y="248"/>
                  </a:lnTo>
                  <a:lnTo>
                    <a:pt x="2128" y="220"/>
                  </a:lnTo>
                  <a:lnTo>
                    <a:pt x="2095" y="193"/>
                  </a:lnTo>
                  <a:lnTo>
                    <a:pt x="2095" y="193"/>
                  </a:lnTo>
                  <a:close/>
                  <a:moveTo>
                    <a:pt x="1398" y="308"/>
                  </a:moveTo>
                  <a:lnTo>
                    <a:pt x="1398" y="308"/>
                  </a:lnTo>
                  <a:lnTo>
                    <a:pt x="1400" y="306"/>
                  </a:lnTo>
                  <a:lnTo>
                    <a:pt x="1405" y="300"/>
                  </a:lnTo>
                  <a:lnTo>
                    <a:pt x="1415" y="294"/>
                  </a:lnTo>
                  <a:lnTo>
                    <a:pt x="1421" y="290"/>
                  </a:lnTo>
                  <a:lnTo>
                    <a:pt x="1428" y="288"/>
                  </a:lnTo>
                  <a:lnTo>
                    <a:pt x="1437" y="285"/>
                  </a:lnTo>
                  <a:lnTo>
                    <a:pt x="1445" y="284"/>
                  </a:lnTo>
                  <a:lnTo>
                    <a:pt x="1456" y="284"/>
                  </a:lnTo>
                  <a:lnTo>
                    <a:pt x="1468" y="287"/>
                  </a:lnTo>
                  <a:lnTo>
                    <a:pt x="1482" y="290"/>
                  </a:lnTo>
                  <a:lnTo>
                    <a:pt x="1495" y="295"/>
                  </a:lnTo>
                  <a:lnTo>
                    <a:pt x="1511" y="303"/>
                  </a:lnTo>
                  <a:lnTo>
                    <a:pt x="1528" y="313"/>
                  </a:lnTo>
                  <a:lnTo>
                    <a:pt x="1528" y="313"/>
                  </a:lnTo>
                  <a:lnTo>
                    <a:pt x="1542" y="325"/>
                  </a:lnTo>
                  <a:lnTo>
                    <a:pt x="1555" y="336"/>
                  </a:lnTo>
                  <a:lnTo>
                    <a:pt x="1565" y="347"/>
                  </a:lnTo>
                  <a:lnTo>
                    <a:pt x="1573" y="357"/>
                  </a:lnTo>
                  <a:lnTo>
                    <a:pt x="1580" y="368"/>
                  </a:lnTo>
                  <a:lnTo>
                    <a:pt x="1583" y="376"/>
                  </a:lnTo>
                  <a:lnTo>
                    <a:pt x="1586" y="386"/>
                  </a:lnTo>
                  <a:lnTo>
                    <a:pt x="1587" y="394"/>
                  </a:lnTo>
                  <a:lnTo>
                    <a:pt x="1588" y="401"/>
                  </a:lnTo>
                  <a:lnTo>
                    <a:pt x="1587" y="409"/>
                  </a:lnTo>
                  <a:lnTo>
                    <a:pt x="1584" y="420"/>
                  </a:lnTo>
                  <a:lnTo>
                    <a:pt x="1582" y="427"/>
                  </a:lnTo>
                  <a:lnTo>
                    <a:pt x="1581" y="429"/>
                  </a:lnTo>
                  <a:lnTo>
                    <a:pt x="337" y="2076"/>
                  </a:lnTo>
                  <a:lnTo>
                    <a:pt x="337" y="1902"/>
                  </a:lnTo>
                  <a:lnTo>
                    <a:pt x="239" y="1865"/>
                  </a:lnTo>
                  <a:lnTo>
                    <a:pt x="1398" y="308"/>
                  </a:lnTo>
                  <a:close/>
                  <a:moveTo>
                    <a:pt x="475" y="2657"/>
                  </a:moveTo>
                  <a:lnTo>
                    <a:pt x="475" y="2657"/>
                  </a:lnTo>
                  <a:lnTo>
                    <a:pt x="473" y="2660"/>
                  </a:lnTo>
                  <a:lnTo>
                    <a:pt x="469" y="2664"/>
                  </a:lnTo>
                  <a:lnTo>
                    <a:pt x="456" y="2671"/>
                  </a:lnTo>
                  <a:lnTo>
                    <a:pt x="439" y="2680"/>
                  </a:lnTo>
                  <a:lnTo>
                    <a:pt x="417" y="2689"/>
                  </a:lnTo>
                  <a:lnTo>
                    <a:pt x="364" y="2709"/>
                  </a:lnTo>
                  <a:lnTo>
                    <a:pt x="304" y="2729"/>
                  </a:lnTo>
                  <a:lnTo>
                    <a:pt x="244" y="2746"/>
                  </a:lnTo>
                  <a:lnTo>
                    <a:pt x="216" y="2754"/>
                  </a:lnTo>
                  <a:lnTo>
                    <a:pt x="191" y="2760"/>
                  </a:lnTo>
                  <a:lnTo>
                    <a:pt x="169" y="2764"/>
                  </a:lnTo>
                  <a:lnTo>
                    <a:pt x="152" y="2767"/>
                  </a:lnTo>
                  <a:lnTo>
                    <a:pt x="140" y="2767"/>
                  </a:lnTo>
                  <a:lnTo>
                    <a:pt x="135" y="2766"/>
                  </a:lnTo>
                  <a:lnTo>
                    <a:pt x="134" y="2763"/>
                  </a:lnTo>
                  <a:lnTo>
                    <a:pt x="134" y="2763"/>
                  </a:lnTo>
                  <a:lnTo>
                    <a:pt x="130" y="2756"/>
                  </a:lnTo>
                  <a:lnTo>
                    <a:pt x="129" y="2743"/>
                  </a:lnTo>
                  <a:lnTo>
                    <a:pt x="127" y="2723"/>
                  </a:lnTo>
                  <a:lnTo>
                    <a:pt x="127" y="2700"/>
                  </a:lnTo>
                  <a:lnTo>
                    <a:pt x="125" y="2643"/>
                  </a:lnTo>
                  <a:lnTo>
                    <a:pt x="127" y="2581"/>
                  </a:lnTo>
                  <a:lnTo>
                    <a:pt x="129" y="2518"/>
                  </a:lnTo>
                  <a:lnTo>
                    <a:pt x="133" y="2462"/>
                  </a:lnTo>
                  <a:lnTo>
                    <a:pt x="135" y="2440"/>
                  </a:lnTo>
                  <a:lnTo>
                    <a:pt x="137" y="2423"/>
                  </a:lnTo>
                  <a:lnTo>
                    <a:pt x="140" y="2411"/>
                  </a:lnTo>
                  <a:lnTo>
                    <a:pt x="141" y="2407"/>
                  </a:lnTo>
                  <a:lnTo>
                    <a:pt x="142" y="2406"/>
                  </a:lnTo>
                  <a:lnTo>
                    <a:pt x="142" y="2406"/>
                  </a:lnTo>
                  <a:lnTo>
                    <a:pt x="151" y="2404"/>
                  </a:lnTo>
                  <a:lnTo>
                    <a:pt x="159" y="2403"/>
                  </a:lnTo>
                  <a:lnTo>
                    <a:pt x="170" y="2403"/>
                  </a:lnTo>
                  <a:lnTo>
                    <a:pt x="181" y="2404"/>
                  </a:lnTo>
                  <a:lnTo>
                    <a:pt x="193" y="2406"/>
                  </a:lnTo>
                  <a:lnTo>
                    <a:pt x="206" y="2409"/>
                  </a:lnTo>
                  <a:lnTo>
                    <a:pt x="234" y="2418"/>
                  </a:lnTo>
                  <a:lnTo>
                    <a:pt x="263" y="2432"/>
                  </a:lnTo>
                  <a:lnTo>
                    <a:pt x="295" y="2447"/>
                  </a:lnTo>
                  <a:lnTo>
                    <a:pt x="325" y="2466"/>
                  </a:lnTo>
                  <a:lnTo>
                    <a:pt x="355" y="2486"/>
                  </a:lnTo>
                  <a:lnTo>
                    <a:pt x="384" y="2508"/>
                  </a:lnTo>
                  <a:lnTo>
                    <a:pt x="411" y="2531"/>
                  </a:lnTo>
                  <a:lnTo>
                    <a:pt x="435" y="2554"/>
                  </a:lnTo>
                  <a:lnTo>
                    <a:pt x="445" y="2565"/>
                  </a:lnTo>
                  <a:lnTo>
                    <a:pt x="454" y="2577"/>
                  </a:lnTo>
                  <a:lnTo>
                    <a:pt x="462" y="2588"/>
                  </a:lnTo>
                  <a:lnTo>
                    <a:pt x="469" y="2599"/>
                  </a:lnTo>
                  <a:lnTo>
                    <a:pt x="474" y="2610"/>
                  </a:lnTo>
                  <a:lnTo>
                    <a:pt x="477" y="2620"/>
                  </a:lnTo>
                  <a:lnTo>
                    <a:pt x="480" y="2630"/>
                  </a:lnTo>
                  <a:lnTo>
                    <a:pt x="480" y="2640"/>
                  </a:lnTo>
                  <a:lnTo>
                    <a:pt x="479" y="2649"/>
                  </a:lnTo>
                  <a:lnTo>
                    <a:pt x="475" y="2657"/>
                  </a:lnTo>
                  <a:lnTo>
                    <a:pt x="475" y="2657"/>
                  </a:lnTo>
                  <a:close/>
                  <a:moveTo>
                    <a:pt x="490" y="2117"/>
                  </a:moveTo>
                  <a:lnTo>
                    <a:pt x="1692" y="455"/>
                  </a:lnTo>
                  <a:lnTo>
                    <a:pt x="1692" y="455"/>
                  </a:lnTo>
                  <a:lnTo>
                    <a:pt x="1694" y="453"/>
                  </a:lnTo>
                  <a:lnTo>
                    <a:pt x="1699" y="450"/>
                  </a:lnTo>
                  <a:lnTo>
                    <a:pt x="1708" y="446"/>
                  </a:lnTo>
                  <a:lnTo>
                    <a:pt x="1713" y="444"/>
                  </a:lnTo>
                  <a:lnTo>
                    <a:pt x="1720" y="443"/>
                  </a:lnTo>
                  <a:lnTo>
                    <a:pt x="1728" y="443"/>
                  </a:lnTo>
                  <a:lnTo>
                    <a:pt x="1737" y="444"/>
                  </a:lnTo>
                  <a:lnTo>
                    <a:pt x="1748" y="445"/>
                  </a:lnTo>
                  <a:lnTo>
                    <a:pt x="1760" y="449"/>
                  </a:lnTo>
                  <a:lnTo>
                    <a:pt x="1773" y="452"/>
                  </a:lnTo>
                  <a:lnTo>
                    <a:pt x="1788" y="460"/>
                  </a:lnTo>
                  <a:lnTo>
                    <a:pt x="1803" y="468"/>
                  </a:lnTo>
                  <a:lnTo>
                    <a:pt x="1821" y="478"/>
                  </a:lnTo>
                  <a:lnTo>
                    <a:pt x="1821" y="478"/>
                  </a:lnTo>
                  <a:lnTo>
                    <a:pt x="1836" y="489"/>
                  </a:lnTo>
                  <a:lnTo>
                    <a:pt x="1849" y="499"/>
                  </a:lnTo>
                  <a:lnTo>
                    <a:pt x="1859" y="509"/>
                  </a:lnTo>
                  <a:lnTo>
                    <a:pt x="1867" y="520"/>
                  </a:lnTo>
                  <a:lnTo>
                    <a:pt x="1875" y="530"/>
                  </a:lnTo>
                  <a:lnTo>
                    <a:pt x="1880" y="539"/>
                  </a:lnTo>
                  <a:lnTo>
                    <a:pt x="1883" y="549"/>
                  </a:lnTo>
                  <a:lnTo>
                    <a:pt x="1887" y="558"/>
                  </a:lnTo>
                  <a:lnTo>
                    <a:pt x="1888" y="565"/>
                  </a:lnTo>
                  <a:lnTo>
                    <a:pt x="1888" y="572"/>
                  </a:lnTo>
                  <a:lnTo>
                    <a:pt x="1888" y="584"/>
                  </a:lnTo>
                  <a:lnTo>
                    <a:pt x="1887" y="591"/>
                  </a:lnTo>
                  <a:lnTo>
                    <a:pt x="1886" y="594"/>
                  </a:lnTo>
                  <a:lnTo>
                    <a:pt x="624" y="2291"/>
                  </a:lnTo>
                  <a:lnTo>
                    <a:pt x="624" y="2094"/>
                  </a:lnTo>
                  <a:lnTo>
                    <a:pt x="490" y="2117"/>
                  </a:lnTo>
                  <a:close/>
                  <a:moveTo>
                    <a:pt x="2117" y="835"/>
                  </a:moveTo>
                  <a:lnTo>
                    <a:pt x="937" y="2462"/>
                  </a:lnTo>
                  <a:lnTo>
                    <a:pt x="902" y="2386"/>
                  </a:lnTo>
                  <a:lnTo>
                    <a:pt x="750" y="2359"/>
                  </a:lnTo>
                  <a:lnTo>
                    <a:pt x="1973" y="677"/>
                  </a:lnTo>
                  <a:lnTo>
                    <a:pt x="1973" y="677"/>
                  </a:lnTo>
                  <a:lnTo>
                    <a:pt x="1975" y="676"/>
                  </a:lnTo>
                  <a:lnTo>
                    <a:pt x="1979" y="672"/>
                  </a:lnTo>
                  <a:lnTo>
                    <a:pt x="1987" y="669"/>
                  </a:lnTo>
                  <a:lnTo>
                    <a:pt x="1992" y="669"/>
                  </a:lnTo>
                  <a:lnTo>
                    <a:pt x="1998" y="668"/>
                  </a:lnTo>
                  <a:lnTo>
                    <a:pt x="2005" y="669"/>
                  </a:lnTo>
                  <a:lnTo>
                    <a:pt x="2014" y="670"/>
                  </a:lnTo>
                  <a:lnTo>
                    <a:pt x="2022" y="674"/>
                  </a:lnTo>
                  <a:lnTo>
                    <a:pt x="2032" y="679"/>
                  </a:lnTo>
                  <a:lnTo>
                    <a:pt x="2043" y="685"/>
                  </a:lnTo>
                  <a:lnTo>
                    <a:pt x="2055" y="693"/>
                  </a:lnTo>
                  <a:lnTo>
                    <a:pt x="2067" y="704"/>
                  </a:lnTo>
                  <a:lnTo>
                    <a:pt x="2080" y="718"/>
                  </a:lnTo>
                  <a:lnTo>
                    <a:pt x="2080" y="718"/>
                  </a:lnTo>
                  <a:lnTo>
                    <a:pt x="2091" y="731"/>
                  </a:lnTo>
                  <a:lnTo>
                    <a:pt x="2101" y="741"/>
                  </a:lnTo>
                  <a:lnTo>
                    <a:pt x="2108" y="754"/>
                  </a:lnTo>
                  <a:lnTo>
                    <a:pt x="2113" y="764"/>
                  </a:lnTo>
                  <a:lnTo>
                    <a:pt x="2118" y="774"/>
                  </a:lnTo>
                  <a:lnTo>
                    <a:pt x="2120" y="784"/>
                  </a:lnTo>
                  <a:lnTo>
                    <a:pt x="2121" y="793"/>
                  </a:lnTo>
                  <a:lnTo>
                    <a:pt x="2123" y="801"/>
                  </a:lnTo>
                  <a:lnTo>
                    <a:pt x="2121" y="815"/>
                  </a:lnTo>
                  <a:lnTo>
                    <a:pt x="2120" y="826"/>
                  </a:lnTo>
                  <a:lnTo>
                    <a:pt x="2118" y="832"/>
                  </a:lnTo>
                  <a:lnTo>
                    <a:pt x="2117" y="835"/>
                  </a:lnTo>
                  <a:lnTo>
                    <a:pt x="2117" y="83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81506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953583" y="394860"/>
            <a:ext cx="7585412" cy="3754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 </a:t>
            </a:r>
            <a:r>
              <a:rPr lang="ko-KR" altLang="en-US" sz="23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범부처신약개발사업</a:t>
            </a:r>
            <a:r>
              <a:rPr lang="en-US" altLang="ko-KR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단</a:t>
            </a:r>
            <a:r>
              <a:rPr lang="en-US" altLang="ko-KR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 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운영</a:t>
            </a:r>
            <a:r>
              <a:rPr lang="en-US" altLang="ko-KR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관리」 </a:t>
            </a: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 ①</a:t>
            </a:r>
            <a:endParaRPr lang="en-US" sz="23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747100" y="6009225"/>
            <a:ext cx="830190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글로벌 신약개발」</a:t>
            </a:r>
            <a:r>
              <a:rPr lang="en-US" altLang="ko-KR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sz="22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범부처의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관심과 내부시스템 혁</a:t>
            </a:r>
            <a:r>
              <a:rPr lang="ko-KR" altLang="en-US" sz="2200" dirty="0">
                <a:latin typeface="HY견고딕" panose="02030600000101010101" pitchFamily="18" charset="-127"/>
                <a:ea typeface="HY견고딕" panose="02030600000101010101" pitchFamily="18" charset="-127"/>
              </a:rPr>
              <a:t>신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필요</a:t>
            </a:r>
            <a:endParaRPr lang="ko-KR" altLang="en-US" sz="22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6230" y="1027156"/>
            <a:ext cx="834424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＇</a:t>
            </a:r>
            <a:r>
              <a:rPr lang="en-US" altLang="ko-KR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11</a:t>
            </a:r>
            <a:r>
              <a:rPr lang="ko-KR" altLang="en-US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년</a:t>
            </a:r>
            <a:r>
              <a:rPr lang="en-US" altLang="ko-KR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~</a:t>
            </a:r>
            <a:r>
              <a:rPr lang="ko-KR" altLang="en-US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＇</a:t>
            </a:r>
            <a:r>
              <a:rPr lang="en-US" altLang="ko-KR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20</a:t>
            </a:r>
            <a:r>
              <a:rPr lang="ko-KR" altLang="en-US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년까지 복지부</a:t>
            </a:r>
            <a:r>
              <a:rPr lang="en-US" altLang="ko-KR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4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미래부</a:t>
            </a:r>
            <a:r>
              <a:rPr lang="en-US" altLang="ko-KR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4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산업부</a:t>
            </a:r>
            <a:r>
              <a:rPr lang="ko-KR" altLang="en-US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공동 사업</a:t>
            </a:r>
            <a:r>
              <a:rPr lang="en-US" altLang="ko-KR" sz="11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1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총사업비</a:t>
            </a:r>
            <a:r>
              <a:rPr lang="ko-KR" altLang="en-US" sz="11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1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1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조</a:t>
            </a:r>
            <a:r>
              <a:rPr lang="en-US" altLang="ko-KR" sz="11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6</a:t>
            </a:r>
            <a:r>
              <a:rPr lang="ko-KR" altLang="en-US" sz="11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백억 원</a:t>
            </a:r>
            <a:r>
              <a:rPr lang="en-US" altLang="ko-KR" sz="11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en-US" altLang="ko-KR" sz="14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400" b="1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新블루오션</a:t>
            </a:r>
            <a:r>
              <a:rPr lang="ko-KR" altLang="en-US" sz="14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시장 개척</a:t>
            </a:r>
            <a:endParaRPr lang="en-US" altLang="ko-KR" sz="1400" b="1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4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정부차원</a:t>
            </a:r>
            <a:r>
              <a:rPr lang="en-US" altLang="ko-KR" sz="14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4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국제경쟁력 취약한 글로벌 </a:t>
            </a:r>
            <a:r>
              <a:rPr lang="ko-KR" altLang="en-US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신약개발 지원 </a:t>
            </a:r>
            <a:r>
              <a:rPr lang="ko-KR" altLang="en-US" sz="14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범정부</a:t>
            </a:r>
            <a:r>
              <a:rPr lang="ko-KR" altLang="en-US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프로젝트     </a:t>
            </a:r>
            <a:r>
              <a:rPr lang="ko-KR" altLang="en-US" sz="14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글로벌 신약 </a:t>
            </a:r>
            <a:r>
              <a:rPr lang="en-US" altLang="ko-KR" sz="14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0</a:t>
            </a:r>
            <a:r>
              <a:rPr lang="ko-KR" altLang="en-US" sz="14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개 이상 목표</a:t>
            </a:r>
            <a:endParaRPr lang="en-US" altLang="ko-KR" sz="1400" b="1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그간 부처별 투자 및 정부 주도의 </a:t>
            </a:r>
            <a:r>
              <a:rPr lang="en-US" altLang="ko-KR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R&amp;D </a:t>
            </a:r>
            <a:r>
              <a:rPr lang="ko-KR" altLang="en-US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사업방식 배제 통해</a:t>
            </a:r>
            <a:r>
              <a:rPr lang="en-US" altLang="ko-KR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효율성 등 극대화 추진     </a:t>
            </a:r>
            <a:r>
              <a:rPr lang="en-US" altLang="ko-KR" sz="14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00% </a:t>
            </a:r>
            <a:r>
              <a:rPr lang="ko-KR" altLang="en-US" sz="14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민간 위임</a:t>
            </a:r>
            <a:endParaRPr lang="en-US" altLang="ko-KR" sz="1400" b="1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문제는 당초의 취지와 목표가 제대로 이행</a:t>
            </a:r>
            <a:r>
              <a:rPr lang="en-US" altLang="ko-KR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점검 관리가 되지 못하고 있음      </a:t>
            </a:r>
            <a:r>
              <a:rPr lang="ko-KR" altLang="en-US" sz="14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의지 약화와 예산 축소</a:t>
            </a:r>
            <a:endParaRPr lang="ko-KR" altLang="en-US" sz="1400" b="1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6145" name="_x188718408" descr="EMB000032746da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641" y="3199737"/>
            <a:ext cx="3486150" cy="2300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직사각형 15"/>
          <p:cNvSpPr/>
          <p:nvPr/>
        </p:nvSpPr>
        <p:spPr>
          <a:xfrm>
            <a:off x="1505940" y="2679138"/>
            <a:ext cx="207460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 latinLnBrk="0"/>
            <a:r>
              <a:rPr lang="ko-KR" altLang="en-US" sz="1100" dirty="0">
                <a:latin typeface="HY견고딕" panose="02030600000101010101" pitchFamily="18" charset="-127"/>
                <a:ea typeface="HY견고딕" panose="02030600000101010101" pitchFamily="18" charset="-127"/>
              </a:rPr>
              <a:t>출범</a:t>
            </a:r>
            <a:r>
              <a:rPr lang="en-US" altLang="ko-KR" sz="1100" dirty="0">
                <a:latin typeface="HY견고딕" panose="02030600000101010101" pitchFamily="18" charset="-127"/>
                <a:ea typeface="HY견고딕" panose="02030600000101010101" pitchFamily="18" charset="-127"/>
              </a:rPr>
              <a:t>(2011</a:t>
            </a:r>
            <a:r>
              <a:rPr lang="ko-KR" altLang="en-US" sz="1100" dirty="0">
                <a:latin typeface="HY견고딕" panose="02030600000101010101" pitchFamily="18" charset="-127"/>
                <a:ea typeface="HY견고딕" panose="02030600000101010101" pitchFamily="18" charset="-127"/>
              </a:rPr>
              <a:t>년</a:t>
            </a:r>
            <a:r>
              <a:rPr lang="en-US" altLang="ko-KR" sz="1100" dirty="0">
                <a:latin typeface="HY견고딕" panose="02030600000101010101" pitchFamily="18" charset="-127"/>
                <a:ea typeface="HY견고딕" panose="02030600000101010101" pitchFamily="18" charset="-127"/>
              </a:rPr>
              <a:t>) </a:t>
            </a:r>
            <a:r>
              <a:rPr lang="ko-KR" altLang="en-US" sz="1100" dirty="0">
                <a:latin typeface="HY견고딕" panose="02030600000101010101" pitchFamily="18" charset="-127"/>
                <a:ea typeface="HY견고딕" panose="02030600000101010101" pitchFamily="18" charset="-127"/>
              </a:rPr>
              <a:t>초기 투자 계획</a:t>
            </a:r>
          </a:p>
        </p:txBody>
      </p:sp>
      <p:cxnSp>
        <p:nvCxnSpPr>
          <p:cNvPr id="21" name="직선 연결선 20"/>
          <p:cNvCxnSpPr/>
          <p:nvPr/>
        </p:nvCxnSpPr>
        <p:spPr>
          <a:xfrm>
            <a:off x="1245502" y="5457547"/>
            <a:ext cx="0" cy="219546"/>
          </a:xfrm>
          <a:prstGeom prst="line">
            <a:avLst/>
          </a:prstGeom>
          <a:ln w="317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직선 연결선 46"/>
          <p:cNvCxnSpPr/>
          <p:nvPr/>
        </p:nvCxnSpPr>
        <p:spPr>
          <a:xfrm>
            <a:off x="2430087" y="5457547"/>
            <a:ext cx="0" cy="219546"/>
          </a:xfrm>
          <a:prstGeom prst="line">
            <a:avLst/>
          </a:prstGeom>
          <a:ln w="317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직선 연결선 47"/>
          <p:cNvCxnSpPr/>
          <p:nvPr/>
        </p:nvCxnSpPr>
        <p:spPr>
          <a:xfrm>
            <a:off x="3333737" y="5457547"/>
            <a:ext cx="0" cy="219546"/>
          </a:xfrm>
          <a:prstGeom prst="line">
            <a:avLst/>
          </a:prstGeom>
          <a:ln w="317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1407651" y="5457547"/>
            <a:ext cx="85428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←도입기→</a:t>
            </a:r>
            <a:endParaRPr lang="ko-KR" altLang="en-US" sz="105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2450854" y="5457547"/>
            <a:ext cx="85428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←</a:t>
            </a:r>
            <a:r>
              <a:rPr lang="ko-KR" altLang="en-US" sz="105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확장기</a:t>
            </a:r>
            <a:r>
              <a:rPr lang="ko-KR" altLang="en-US" sz="10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→</a:t>
            </a:r>
            <a:endParaRPr lang="ko-KR" altLang="en-US" sz="105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3204122" y="5457547"/>
            <a:ext cx="85428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도약기</a:t>
            </a:r>
            <a:endParaRPr lang="ko-KR" altLang="en-US" sz="105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3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6147" name="_x188715848" descr="EMB000032746da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2162" y="3127729"/>
            <a:ext cx="3433763" cy="2372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직사각형 23"/>
          <p:cNvSpPr/>
          <p:nvPr/>
        </p:nvSpPr>
        <p:spPr>
          <a:xfrm>
            <a:off x="4705690" y="2675564"/>
            <a:ext cx="352380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 latinLnBrk="0"/>
            <a:r>
              <a:rPr lang="ko-KR" altLang="en-US" sz="1100" dirty="0">
                <a:latin typeface="HY견고딕" panose="02030600000101010101" pitchFamily="18" charset="-127"/>
                <a:ea typeface="HY견고딕" panose="02030600000101010101" pitchFamily="18" charset="-127"/>
              </a:rPr>
              <a:t>출범 </a:t>
            </a:r>
            <a:r>
              <a:rPr lang="en-US" altLang="ko-KR" sz="1100" dirty="0">
                <a:latin typeface="HY견고딕" panose="02030600000101010101" pitchFamily="18" charset="-127"/>
                <a:ea typeface="HY견고딕" panose="02030600000101010101" pitchFamily="18" charset="-127"/>
              </a:rPr>
              <a:t>4</a:t>
            </a:r>
            <a:r>
              <a:rPr lang="ko-KR" altLang="en-US" sz="1100" dirty="0" err="1">
                <a:latin typeface="HY견고딕" panose="02030600000101010101" pitchFamily="18" charset="-127"/>
                <a:ea typeface="HY견고딕" panose="02030600000101010101" pitchFamily="18" charset="-127"/>
              </a:rPr>
              <a:t>년차</a:t>
            </a:r>
            <a:r>
              <a:rPr lang="en-US" altLang="ko-KR" sz="1100" dirty="0">
                <a:latin typeface="HY견고딕" panose="02030600000101010101" pitchFamily="18" charset="-127"/>
                <a:ea typeface="HY견고딕" panose="02030600000101010101" pitchFamily="18" charset="-127"/>
              </a:rPr>
              <a:t>(14</a:t>
            </a:r>
            <a:r>
              <a:rPr lang="ko-KR" altLang="en-US" sz="1100" dirty="0">
                <a:latin typeface="HY견고딕" panose="02030600000101010101" pitchFamily="18" charset="-127"/>
                <a:ea typeface="HY견고딕" panose="02030600000101010101" pitchFamily="18" charset="-127"/>
              </a:rPr>
              <a:t>년</a:t>
            </a:r>
            <a:r>
              <a:rPr lang="en-US" altLang="ko-KR" sz="1100" dirty="0">
                <a:latin typeface="HY견고딕" panose="02030600000101010101" pitchFamily="18" charset="-127"/>
                <a:ea typeface="HY견고딕" panose="02030600000101010101" pitchFamily="18" charset="-127"/>
              </a:rPr>
              <a:t>) </a:t>
            </a:r>
            <a:r>
              <a:rPr lang="ko-KR" altLang="en-US" sz="1100" dirty="0">
                <a:latin typeface="HY견고딕" panose="02030600000101010101" pitchFamily="18" charset="-127"/>
                <a:ea typeface="HY견고딕" panose="02030600000101010101" pitchFamily="18" charset="-127"/>
              </a:rPr>
              <a:t>상황 </a:t>
            </a:r>
            <a:r>
              <a:rPr lang="en-US" altLang="ko-KR" sz="900" dirty="0"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en-US" altLang="ko-KR" sz="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‘</a:t>
            </a:r>
            <a:r>
              <a:rPr lang="en-US" altLang="ko-KR" sz="900" dirty="0">
                <a:latin typeface="HY견고딕" panose="02030600000101010101" pitchFamily="18" charset="-127"/>
                <a:ea typeface="HY견고딕" panose="02030600000101010101" pitchFamily="18" charset="-127"/>
              </a:rPr>
              <a:t>15</a:t>
            </a:r>
            <a:r>
              <a:rPr lang="ko-KR" altLang="en-US" sz="900" dirty="0">
                <a:latin typeface="HY견고딕" panose="02030600000101010101" pitchFamily="18" charset="-127"/>
                <a:ea typeface="HY견고딕" panose="02030600000101010101" pitchFamily="18" charset="-127"/>
              </a:rPr>
              <a:t>년 예산 </a:t>
            </a:r>
            <a:r>
              <a:rPr lang="en-US" altLang="ko-KR" sz="900" dirty="0">
                <a:latin typeface="HY견고딕" panose="02030600000101010101" pitchFamily="18" charset="-127"/>
                <a:ea typeface="HY견고딕" panose="02030600000101010101" pitchFamily="18" charset="-127"/>
              </a:rPr>
              <a:t>261</a:t>
            </a:r>
            <a:r>
              <a:rPr lang="ko-KR" altLang="en-US" sz="900" dirty="0" err="1">
                <a:latin typeface="HY견고딕" panose="02030600000101010101" pitchFamily="18" charset="-127"/>
                <a:ea typeface="HY견고딕" panose="02030600000101010101" pitchFamily="18" charset="-127"/>
              </a:rPr>
              <a:t>억원</a:t>
            </a:r>
            <a:r>
              <a:rPr lang="ko-KR" altLang="en-US" sz="900" dirty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기준</a:t>
            </a:r>
            <a:r>
              <a:rPr lang="en-US" altLang="ko-KR" sz="900" dirty="0"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endParaRPr lang="ko-KR" altLang="en-US" sz="9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cxnSp>
        <p:nvCxnSpPr>
          <p:cNvPr id="51" name="직선 연결선 50"/>
          <p:cNvCxnSpPr/>
          <p:nvPr/>
        </p:nvCxnSpPr>
        <p:spPr>
          <a:xfrm>
            <a:off x="5149806" y="5465804"/>
            <a:ext cx="0" cy="219546"/>
          </a:xfrm>
          <a:prstGeom prst="line">
            <a:avLst/>
          </a:prstGeom>
          <a:ln w="317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직선 연결선 51"/>
          <p:cNvCxnSpPr/>
          <p:nvPr/>
        </p:nvCxnSpPr>
        <p:spPr>
          <a:xfrm>
            <a:off x="6334391" y="5465804"/>
            <a:ext cx="0" cy="219546"/>
          </a:xfrm>
          <a:prstGeom prst="line">
            <a:avLst/>
          </a:prstGeom>
          <a:ln w="317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직선 연결선 52"/>
          <p:cNvCxnSpPr/>
          <p:nvPr/>
        </p:nvCxnSpPr>
        <p:spPr>
          <a:xfrm>
            <a:off x="7238041" y="5465804"/>
            <a:ext cx="0" cy="219546"/>
          </a:xfrm>
          <a:prstGeom prst="line">
            <a:avLst/>
          </a:prstGeom>
          <a:ln w="317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5311955" y="5465804"/>
            <a:ext cx="85428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←도입기→</a:t>
            </a:r>
            <a:endParaRPr lang="ko-KR" altLang="en-US" sz="105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6355158" y="5465804"/>
            <a:ext cx="85428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←</a:t>
            </a:r>
            <a:r>
              <a:rPr lang="ko-KR" altLang="en-US" sz="105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확장기</a:t>
            </a:r>
            <a:r>
              <a:rPr lang="ko-KR" altLang="en-US" sz="10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→</a:t>
            </a:r>
            <a:endParaRPr lang="ko-KR" altLang="en-US" sz="105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7108426" y="5465804"/>
            <a:ext cx="85428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도약기</a:t>
            </a:r>
            <a:endParaRPr lang="ko-KR" altLang="en-US" sz="105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0" name="오른쪽 화살표 29"/>
          <p:cNvSpPr/>
          <p:nvPr/>
        </p:nvSpPr>
        <p:spPr>
          <a:xfrm>
            <a:off x="6322981" y="119386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1" name="오른쪽 화살표 30"/>
          <p:cNvSpPr/>
          <p:nvPr/>
        </p:nvSpPr>
        <p:spPr>
          <a:xfrm>
            <a:off x="6247146" y="149168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2" name="오른쪽 화살표 31"/>
          <p:cNvSpPr/>
          <p:nvPr/>
        </p:nvSpPr>
        <p:spPr>
          <a:xfrm>
            <a:off x="6906529" y="180831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3" name="오른쪽 화살표 32"/>
          <p:cNvSpPr/>
          <p:nvPr/>
        </p:nvSpPr>
        <p:spPr>
          <a:xfrm>
            <a:off x="6286032" y="213285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4" name="오른쪽 화살표 33"/>
          <p:cNvSpPr/>
          <p:nvPr/>
        </p:nvSpPr>
        <p:spPr>
          <a:xfrm>
            <a:off x="479743" y="6181965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35" name="그룹 34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36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39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40" name="TextBox 39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41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7" name="그림 36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49690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606810" y="587901"/>
            <a:ext cx="8195728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 </a:t>
            </a:r>
            <a:r>
              <a:rPr lang="ko-KR" altLang="en-US" sz="23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범부처신약개발사업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선정 프로젝트의 허실」 </a:t>
            </a: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 ②</a:t>
            </a:r>
            <a:endParaRPr lang="en-US" sz="23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472190" y="6143732"/>
            <a:ext cx="8492297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제</a:t>
            </a:r>
            <a:r>
              <a:rPr lang="en-US" altLang="ko-KR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2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기 글로벌 신약개발사업단」</a:t>
            </a:r>
            <a:r>
              <a:rPr lang="en-US" altLang="ko-KR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과제목표 재검토 등 보완 시급</a:t>
            </a:r>
            <a:endParaRPr lang="ko-KR" altLang="en-US" sz="22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43852" y="1350561"/>
            <a:ext cx="872063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당초 취지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100%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민간주도의 글로벌 신약개발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全과정에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대한 단계별 지원 목적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① 글로벌 </a:t>
            </a:r>
            <a:r>
              <a:rPr lang="ko-KR" altLang="en-US" sz="1400" spc="-15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라이센싱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아웃 목표에 미흡한 과제선정     </a:t>
            </a:r>
            <a:r>
              <a:rPr lang="ko-KR" altLang="en-US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골다공증</a:t>
            </a:r>
            <a:r>
              <a:rPr lang="en-US" altLang="ko-KR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 err="1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류마티스관절염</a:t>
            </a:r>
            <a:r>
              <a:rPr lang="en-US" altLang="ko-KR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 err="1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위장관질환</a:t>
            </a:r>
            <a:r>
              <a:rPr lang="en-US" altLang="ko-KR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성장호르몬 등</a:t>
            </a:r>
            <a:endParaRPr lang="en-US" altLang="ko-KR" sz="1400" spc="-150" dirty="0" smtClean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② 이사진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평가위원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투자심의위원 소속 회사의 프로젝트 선정 다수    </a:t>
            </a:r>
            <a:r>
              <a:rPr lang="en-US" altLang="ko-KR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SK, </a:t>
            </a:r>
            <a:r>
              <a:rPr lang="ko-KR" altLang="en-US" sz="1400" spc="-150" dirty="0" err="1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한독</a:t>
            </a:r>
            <a:r>
              <a:rPr lang="en-US" altLang="ko-KR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 err="1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오스코텍</a:t>
            </a:r>
            <a:r>
              <a:rPr lang="en-US" altLang="ko-KR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 err="1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레고켐</a:t>
            </a:r>
            <a:r>
              <a:rPr lang="en-US" altLang="ko-KR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녹십자 등</a:t>
            </a:r>
            <a:endParaRPr lang="en-US" altLang="ko-KR" sz="1400" spc="-150" dirty="0" smtClean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③ </a:t>
            </a:r>
            <a:r>
              <a:rPr lang="ko-KR" altLang="en-US" sz="1400" spc="-15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미래부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등 </a:t>
            </a:r>
            <a:r>
              <a:rPr lang="ko-KR" altLang="en-US" sz="1400" spc="-15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他부처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지원사업 종료된 과제의 연이은 연계 중복지원     </a:t>
            </a:r>
            <a:r>
              <a:rPr lang="en-US" altLang="ko-KR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SK, </a:t>
            </a:r>
            <a:r>
              <a:rPr lang="ko-KR" altLang="en-US" sz="1400" spc="-150" dirty="0" err="1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제넥신</a:t>
            </a:r>
            <a:r>
              <a:rPr lang="en-US" altLang="ko-KR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 err="1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레고켐</a:t>
            </a:r>
            <a:r>
              <a:rPr lang="en-US" altLang="ko-KR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녹십자 등</a:t>
            </a:r>
            <a:endParaRPr lang="en-US" altLang="ko-KR" sz="1400" spc="-150" dirty="0" smtClean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④ 제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1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기 사업단 임기 종료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글로벌 수준의 실적 포장    </a:t>
            </a:r>
            <a:r>
              <a:rPr lang="ko-KR" altLang="en-US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제</a:t>
            </a:r>
            <a:r>
              <a:rPr lang="en-US" altLang="ko-KR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1</a:t>
            </a:r>
            <a:r>
              <a:rPr lang="ko-KR" altLang="en-US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기 전횡 의혹 특정인의 후임 단장 내정설 파다</a:t>
            </a:r>
            <a:endParaRPr lang="ko-KR" altLang="en-US" sz="1400" spc="-150" dirty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30" name="오른쪽 화살표 29"/>
          <p:cNvSpPr/>
          <p:nvPr/>
        </p:nvSpPr>
        <p:spPr>
          <a:xfrm>
            <a:off x="5910225" y="2204858"/>
            <a:ext cx="108012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4" name="오른쪽 화살표 33"/>
          <p:cNvSpPr/>
          <p:nvPr/>
        </p:nvSpPr>
        <p:spPr>
          <a:xfrm>
            <a:off x="4517994" y="1869154"/>
            <a:ext cx="108012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5" name="오른쪽 화살표 34"/>
          <p:cNvSpPr/>
          <p:nvPr/>
        </p:nvSpPr>
        <p:spPr>
          <a:xfrm>
            <a:off x="5841894" y="2498222"/>
            <a:ext cx="108012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6" name="오른쪽 화살표 35"/>
          <p:cNvSpPr/>
          <p:nvPr/>
        </p:nvSpPr>
        <p:spPr>
          <a:xfrm>
            <a:off x="4730900" y="2838843"/>
            <a:ext cx="108012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461" y="3212976"/>
            <a:ext cx="4922452" cy="28803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직사각형 9"/>
          <p:cNvSpPr/>
          <p:nvPr/>
        </p:nvSpPr>
        <p:spPr>
          <a:xfrm>
            <a:off x="5744574" y="4655288"/>
            <a:ext cx="2238349" cy="25691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모서리가 둥근 직사각형 11"/>
          <p:cNvSpPr/>
          <p:nvPr/>
        </p:nvSpPr>
        <p:spPr>
          <a:xfrm>
            <a:off x="5508104" y="3645024"/>
            <a:ext cx="3294434" cy="504056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라이센싱</a:t>
            </a:r>
            <a:r>
              <a:rPr lang="ko-KR" altLang="en-US" sz="1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 인</a:t>
            </a:r>
            <a:r>
              <a:rPr lang="en-US" altLang="ko-KR" sz="1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아웃 시장에서</a:t>
            </a:r>
            <a:endParaRPr lang="en-US" altLang="ko-KR" sz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r>
              <a:rPr lang="ko-KR" altLang="en-US" sz="1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관심이 높은 분야</a:t>
            </a:r>
            <a:endParaRPr lang="ko-KR" alt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715161" y="4519511"/>
            <a:ext cx="288032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altLang="ko-KR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1. Oncology(24%) </a:t>
            </a:r>
            <a:r>
              <a:rPr lang="ko-KR" altLang="en-US" sz="12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종양학</a:t>
            </a:r>
            <a:endParaRPr lang="en-US" altLang="ko-KR" sz="12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2. CNS(15%) </a:t>
            </a: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중추신경계통</a:t>
            </a:r>
            <a:endParaRPr lang="en-US" altLang="ko-KR" sz="12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3. </a:t>
            </a:r>
            <a:r>
              <a:rPr lang="en-US" altLang="ko-KR" sz="12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Lmmunology</a:t>
            </a:r>
            <a:r>
              <a:rPr lang="en-US" altLang="ko-KR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12%) </a:t>
            </a: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면역학</a:t>
            </a:r>
            <a:endParaRPr lang="ko-KR" altLang="en-US" sz="12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2" name="오른쪽 화살표 21"/>
          <p:cNvSpPr/>
          <p:nvPr/>
        </p:nvSpPr>
        <p:spPr>
          <a:xfrm>
            <a:off x="267677" y="6300636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24" name="그룹 23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25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27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TextBox 27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29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26" name="그림 2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12542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1413462" y="507290"/>
            <a:ext cx="6572574" cy="4124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altLang="ko-KR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『</a:t>
            </a: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의료관련 감염</a:t>
            </a:r>
            <a:r>
              <a:rPr lang="en-US" altLang="ko-KR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26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병원內</a:t>
            </a: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2</a:t>
            </a: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차 감염</a:t>
            </a:r>
            <a:r>
              <a:rPr lang="en-US" altLang="ko-KR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』 </a:t>
            </a: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sz="26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19955" y="1171939"/>
            <a:ext cx="815958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병원성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내인성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미생물이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주요인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입원환자의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5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∼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0%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선 발생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  의료기구가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주원인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「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감염관리실」설치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병상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200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↑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병원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(280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여개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 의무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 「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감염감시체계」참여 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9%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*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중환자실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감염감시 참여병원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97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개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34.6%)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수술부위 감염감시 참여병원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67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개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23.9%)</a:t>
            </a:r>
            <a:endParaRPr lang="ko-KR" altLang="en-US" sz="14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①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「年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1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회 서면조사」만으로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2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차 감염 실태조사</a:t>
            </a:r>
            <a:r>
              <a:rPr lang="en-US" altLang="ko-KR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b="1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질본</a:t>
            </a:r>
            <a:r>
              <a:rPr lang="en-US" altLang="ko-KR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부실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지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속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②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행정기관에</a:t>
            </a:r>
            <a:r>
              <a:rPr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「발생보고 의무」없고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「통계 신뢰도」매우 낮음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③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해당 의료기관의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2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차 감염 관리활동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미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흡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</a:t>
            </a:r>
            <a:r>
              <a:rPr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「처벌근거」없음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938125" y="5908649"/>
            <a:ext cx="804663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의료불신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분쟁 자초하는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제도 미흡」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관리 부실」</a:t>
            </a:r>
            <a:r>
              <a:rPr lang="ko-KR" altLang="en-US" sz="2000" dirty="0" smtClean="0">
                <a:solidFill>
                  <a:schemeClr val="accent2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대책 필요</a:t>
            </a:r>
            <a:endParaRPr lang="ko-KR" altLang="en-US" sz="2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9639" y="3593752"/>
            <a:ext cx="1092624" cy="10926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그림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8630" y="3593752"/>
            <a:ext cx="1086344" cy="10926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TextBox 9"/>
          <p:cNvSpPr txBox="1"/>
          <p:nvPr/>
        </p:nvSpPr>
        <p:spPr>
          <a:xfrm>
            <a:off x="1909140" y="4686376"/>
            <a:ext cx="124215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600" dirty="0" smtClean="0">
                <a:solidFill>
                  <a:schemeClr val="accent1">
                    <a:lumMod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병원환경</a:t>
            </a:r>
            <a:endParaRPr lang="ko-KR" altLang="en-US" sz="1600" dirty="0">
              <a:solidFill>
                <a:schemeClr val="accent1">
                  <a:lumMod val="50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223817" y="4686376"/>
            <a:ext cx="15959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600" dirty="0" smtClean="0">
                <a:solidFill>
                  <a:schemeClr val="accent1">
                    <a:lumMod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사람과의 접촉</a:t>
            </a:r>
            <a:endParaRPr lang="ko-KR" altLang="en-US" sz="1600" dirty="0">
              <a:solidFill>
                <a:schemeClr val="accent1">
                  <a:lumMod val="50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044675" y="4944582"/>
            <a:ext cx="1161655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dirty="0" smtClean="0"/>
              <a:t>공기</a:t>
            </a:r>
            <a:r>
              <a:rPr lang="en-US" altLang="ko-KR" sz="1100" dirty="0"/>
              <a:t>(</a:t>
            </a:r>
            <a:r>
              <a:rPr lang="ko-KR" altLang="en-US" sz="1100" dirty="0" smtClean="0"/>
              <a:t>곰팡이</a:t>
            </a:r>
            <a:r>
              <a:rPr lang="en-US" altLang="ko-KR" sz="1100" dirty="0" smtClean="0"/>
              <a:t>)</a:t>
            </a:r>
          </a:p>
          <a:p>
            <a:r>
              <a:rPr lang="ko-KR" altLang="en-US" sz="1100" dirty="0" smtClean="0"/>
              <a:t>물</a:t>
            </a:r>
            <a:r>
              <a:rPr lang="en-US" altLang="ko-KR" sz="1100" dirty="0" smtClean="0"/>
              <a:t>(</a:t>
            </a:r>
            <a:r>
              <a:rPr lang="ko-KR" altLang="en-US" sz="1100" dirty="0" err="1" smtClean="0"/>
              <a:t>레지오넬라</a:t>
            </a:r>
            <a:r>
              <a:rPr lang="en-US" altLang="ko-KR" sz="1100" dirty="0" smtClean="0"/>
              <a:t>)</a:t>
            </a:r>
          </a:p>
          <a:p>
            <a:r>
              <a:rPr lang="ko-KR" altLang="en-US" sz="1100" dirty="0" smtClean="0"/>
              <a:t>음식</a:t>
            </a:r>
            <a:r>
              <a:rPr lang="en-US" altLang="ko-KR" sz="1100" dirty="0" smtClean="0"/>
              <a:t>(</a:t>
            </a:r>
            <a:r>
              <a:rPr lang="ko-KR" altLang="en-US" sz="1100" dirty="0" smtClean="0"/>
              <a:t>병원체</a:t>
            </a:r>
            <a:r>
              <a:rPr lang="en-US" altLang="ko-KR" sz="1100" dirty="0"/>
              <a:t>)</a:t>
            </a:r>
            <a:endParaRPr lang="ko-KR" altLang="en-US" sz="1100" dirty="0"/>
          </a:p>
        </p:txBody>
      </p:sp>
      <p:sp>
        <p:nvSpPr>
          <p:cNvPr id="20" name="TextBox 19"/>
          <p:cNvSpPr txBox="1"/>
          <p:nvPr/>
        </p:nvSpPr>
        <p:spPr>
          <a:xfrm>
            <a:off x="3303057" y="4944581"/>
            <a:ext cx="135708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dirty="0" smtClean="0"/>
              <a:t>의료진</a:t>
            </a:r>
            <a:endParaRPr lang="en-US" altLang="ko-KR" sz="1100" dirty="0" smtClean="0"/>
          </a:p>
          <a:p>
            <a:r>
              <a:rPr lang="ko-KR" altLang="en-US" sz="1100" dirty="0" err="1" smtClean="0"/>
              <a:t>다른환자</a:t>
            </a:r>
            <a:endParaRPr lang="en-US" altLang="ko-KR" sz="1100" dirty="0" smtClean="0"/>
          </a:p>
          <a:p>
            <a:r>
              <a:rPr lang="ko-KR" altLang="en-US" sz="1100" dirty="0" smtClean="0"/>
              <a:t>방문객</a:t>
            </a:r>
            <a:r>
              <a:rPr lang="en-US" altLang="ko-KR" sz="1100" dirty="0" smtClean="0"/>
              <a:t>(</a:t>
            </a:r>
            <a:r>
              <a:rPr lang="ko-KR" altLang="en-US" sz="1100" dirty="0" smtClean="0"/>
              <a:t>간염</a:t>
            </a:r>
            <a:r>
              <a:rPr lang="en-US" altLang="ko-KR" sz="1100" dirty="0" smtClean="0"/>
              <a:t>, </a:t>
            </a:r>
            <a:r>
              <a:rPr lang="ko-KR" altLang="en-US" sz="1100" dirty="0" smtClean="0"/>
              <a:t>결핵</a:t>
            </a:r>
            <a:r>
              <a:rPr lang="en-US" altLang="ko-KR" sz="1100" dirty="0" smtClean="0"/>
              <a:t>, </a:t>
            </a:r>
            <a:r>
              <a:rPr lang="ko-KR" altLang="en-US" sz="1100" dirty="0" smtClean="0"/>
              <a:t>인플루엔자</a:t>
            </a:r>
            <a:r>
              <a:rPr lang="en-US" altLang="ko-KR" sz="1100" dirty="0" smtClean="0"/>
              <a:t>)</a:t>
            </a:r>
            <a:endParaRPr lang="ko-KR" altLang="en-US" sz="1100" dirty="0"/>
          </a:p>
        </p:txBody>
      </p:sp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349" y="4023805"/>
            <a:ext cx="603357" cy="551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476230" y="4644614"/>
            <a:ext cx="132202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600" dirty="0" smtClean="0">
                <a:solidFill>
                  <a:schemeClr val="accent1">
                    <a:lumMod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병원 內 </a:t>
            </a:r>
            <a:endParaRPr lang="en-US" altLang="ko-KR" sz="1600" dirty="0" smtClean="0">
              <a:solidFill>
                <a:schemeClr val="accent1">
                  <a:lumMod val="50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r>
              <a:rPr lang="ko-KR" altLang="en-US" sz="1600" dirty="0" smtClean="0">
                <a:solidFill>
                  <a:schemeClr val="accent1">
                    <a:lumMod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감염경로</a:t>
            </a:r>
            <a:endParaRPr lang="ko-KR" altLang="en-US" sz="1600" dirty="0">
              <a:solidFill>
                <a:schemeClr val="accent1">
                  <a:lumMod val="50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22" name="그림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0254" y="3720710"/>
            <a:ext cx="3398144" cy="186976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9" name="TextBox 28"/>
          <p:cNvSpPr txBox="1"/>
          <p:nvPr/>
        </p:nvSpPr>
        <p:spPr>
          <a:xfrm>
            <a:off x="7427735" y="5319284"/>
            <a:ext cx="11097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600" dirty="0" smtClean="0">
                <a:solidFill>
                  <a:schemeClr val="accent1">
                    <a:lumMod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의료기구</a:t>
            </a:r>
            <a:endParaRPr lang="ko-KR" altLang="en-US" sz="1600" dirty="0">
              <a:solidFill>
                <a:schemeClr val="accent1">
                  <a:lumMod val="50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5066327" y="4172667"/>
            <a:ext cx="122413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50" dirty="0" smtClean="0"/>
              <a:t>가래 흡입 삽입관</a:t>
            </a:r>
            <a:endParaRPr lang="ko-KR" altLang="en-US" sz="1050" dirty="0"/>
          </a:p>
        </p:txBody>
      </p:sp>
      <p:sp>
        <p:nvSpPr>
          <p:cNvPr id="31" name="TextBox 30"/>
          <p:cNvSpPr txBox="1"/>
          <p:nvPr/>
        </p:nvSpPr>
        <p:spPr>
          <a:xfrm>
            <a:off x="5431438" y="5488561"/>
            <a:ext cx="85989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50" dirty="0" smtClean="0"/>
              <a:t>인공호흡</a:t>
            </a:r>
            <a:endParaRPr lang="ko-KR" altLang="en-US" sz="1050" dirty="0"/>
          </a:p>
        </p:txBody>
      </p:sp>
      <p:sp>
        <p:nvSpPr>
          <p:cNvPr id="32" name="TextBox 31"/>
          <p:cNvSpPr txBox="1"/>
          <p:nvPr/>
        </p:nvSpPr>
        <p:spPr>
          <a:xfrm>
            <a:off x="5058915" y="3606104"/>
            <a:ext cx="85989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50" dirty="0" err="1" smtClean="0"/>
              <a:t>정맥주사</a:t>
            </a:r>
            <a:r>
              <a:rPr lang="ko-KR" altLang="en-US" sz="1050" dirty="0" err="1"/>
              <a:t>관</a:t>
            </a:r>
            <a:endParaRPr lang="ko-KR" altLang="en-US" sz="1050" dirty="0"/>
          </a:p>
        </p:txBody>
      </p:sp>
      <p:sp>
        <p:nvSpPr>
          <p:cNvPr id="33" name="TextBox 32"/>
          <p:cNvSpPr txBox="1"/>
          <p:nvPr/>
        </p:nvSpPr>
        <p:spPr>
          <a:xfrm>
            <a:off x="5860516" y="3804955"/>
            <a:ext cx="85989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50" dirty="0" smtClean="0"/>
              <a:t>중심정맥관</a:t>
            </a:r>
            <a:endParaRPr lang="ko-KR" altLang="en-US" sz="1050" dirty="0"/>
          </a:p>
        </p:txBody>
      </p:sp>
      <p:sp>
        <p:nvSpPr>
          <p:cNvPr id="34" name="TextBox 33"/>
          <p:cNvSpPr txBox="1"/>
          <p:nvPr/>
        </p:nvSpPr>
        <p:spPr>
          <a:xfrm>
            <a:off x="7429943" y="4013106"/>
            <a:ext cx="85989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50" smtClean="0"/>
              <a:t>요로삽입관</a:t>
            </a:r>
            <a:endParaRPr lang="ko-KR" altLang="en-US" sz="1050" dirty="0"/>
          </a:p>
        </p:txBody>
      </p:sp>
      <p:sp>
        <p:nvSpPr>
          <p:cNvPr id="39" name="오른쪽 화살표 38"/>
          <p:cNvSpPr/>
          <p:nvPr/>
        </p:nvSpPr>
        <p:spPr>
          <a:xfrm>
            <a:off x="6504385" y="136085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0" name="오른쪽 화살표 39"/>
          <p:cNvSpPr/>
          <p:nvPr/>
        </p:nvSpPr>
        <p:spPr>
          <a:xfrm>
            <a:off x="5938528" y="168949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1" name="오른쪽 화살표 40"/>
          <p:cNvSpPr/>
          <p:nvPr/>
        </p:nvSpPr>
        <p:spPr>
          <a:xfrm>
            <a:off x="479743" y="6032753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942723" y="6350469"/>
            <a:ext cx="74348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※ 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의료인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병원경영자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환자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면회인 등 감염관리 인식 제고 시급</a:t>
            </a:r>
            <a:endParaRPr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42" name="그룹 41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43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45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46" name="TextBox 45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47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44" name="그림 4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14715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1016350" y="382826"/>
            <a:ext cx="7560840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4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환경성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질환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아토피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비염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천식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r>
              <a:rPr lang="ko-KR" altLang="en-US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관리정책 </a:t>
            </a:r>
            <a:r>
              <a:rPr lang="ko-KR" altLang="en-US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</a:t>
            </a:r>
            <a:r>
              <a:rPr lang="ko-KR" altLang="en-US" sz="2400" dirty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95682" y="1017648"/>
            <a:ext cx="8377442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“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초등생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5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명 중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명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아토피 피부염 앓아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”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환경성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질환 증가 추세 여전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“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9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세 이하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아토피」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48.5%·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천식」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37.5%·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비염」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21.6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%”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국민질환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‘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11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기준 진료환자 수 약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819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 명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전체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의료보장 인구의 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6%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차지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①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질환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통계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「무작위추출방식 표본조사」만 실시 </a:t>
            </a:r>
            <a:r>
              <a:rPr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→ 신뢰도 의문</a:t>
            </a:r>
            <a:endParaRPr lang="ko-KR" altLang="en-US" sz="1400" dirty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②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표본설계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질병관리본부는“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19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세￪”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건강보험공단“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全연령대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”</a:t>
            </a:r>
            <a:r>
              <a:rPr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→ 따로 따로</a:t>
            </a:r>
            <a:endParaRPr lang="ko-KR" altLang="en-US" sz="1400" dirty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③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지난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7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간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‘08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∼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14)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예산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187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억 원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→ 뚜렷한 성과</a:t>
            </a:r>
            <a:r>
              <a:rPr lang="en-US" altLang="ko-KR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실적 기대난망</a:t>
            </a:r>
            <a:r>
              <a:rPr lang="ko-KR" altLang="en-US" sz="140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780583" y="3434129"/>
            <a:ext cx="37444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&lt;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연도별 환경성질환 발생 추이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&gt;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 </a:t>
            </a:r>
            <a:r>
              <a:rPr lang="en-US" altLang="ko-KR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단위</a:t>
            </a:r>
            <a:r>
              <a:rPr lang="en-US" altLang="ko-KR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: </a:t>
            </a:r>
            <a:r>
              <a:rPr lang="ko-KR" altLang="en-US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천</a:t>
            </a:r>
            <a:r>
              <a:rPr lang="ko-KR" altLang="en-US" sz="1000" dirty="0">
                <a:latin typeface="HY견고딕" panose="02030600000101010101" pitchFamily="18" charset="-127"/>
                <a:ea typeface="HY견고딕" panose="02030600000101010101" pitchFamily="18" charset="-127"/>
              </a:rPr>
              <a:t>명</a:t>
            </a:r>
            <a:r>
              <a:rPr lang="en-US" altLang="ko-KR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endParaRPr lang="ko-KR" altLang="en-US" sz="1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04060" y="6074973"/>
            <a:ext cx="841329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「환경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의료 </a:t>
            </a:r>
            <a:r>
              <a:rPr lang="ko-KR" altLang="en-US" sz="20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융합형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민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산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학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연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관 협력체제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」구축 및 활성화</a:t>
            </a:r>
            <a:endParaRPr lang="ko-KR" altLang="en-US" sz="2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2" name="오른쪽 화살표 21"/>
          <p:cNvSpPr/>
          <p:nvPr/>
        </p:nvSpPr>
        <p:spPr>
          <a:xfrm>
            <a:off x="4910708" y="121997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오른쪽 화살표 22"/>
          <p:cNvSpPr/>
          <p:nvPr/>
        </p:nvSpPr>
        <p:spPr>
          <a:xfrm>
            <a:off x="6804248" y="155907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오른쪽 화살표 23"/>
          <p:cNvSpPr/>
          <p:nvPr/>
        </p:nvSpPr>
        <p:spPr>
          <a:xfrm>
            <a:off x="4468379" y="191757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오른쪽 화살표 24"/>
          <p:cNvSpPr/>
          <p:nvPr/>
        </p:nvSpPr>
        <p:spPr>
          <a:xfrm>
            <a:off x="389061" y="6210009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26" name="그룹 25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27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29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0" name="TextBox 29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31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28" name="그림 2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  <p:graphicFrame>
        <p:nvGraphicFramePr>
          <p:cNvPr id="3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0555112"/>
              </p:ext>
            </p:extLst>
          </p:nvPr>
        </p:nvGraphicFramePr>
        <p:xfrm>
          <a:off x="795971" y="3801477"/>
          <a:ext cx="7776864" cy="1965846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1296144"/>
                <a:gridCol w="1296144"/>
                <a:gridCol w="1296145"/>
                <a:gridCol w="1296143"/>
                <a:gridCol w="1296144"/>
                <a:gridCol w="1296144"/>
              </a:tblGrid>
              <a:tr h="32764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구분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2007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2008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2009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2010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2011</a:t>
                      </a:r>
                      <a:endParaRPr lang="ko-KR" altLang="en-US" sz="1200" dirty="0"/>
                    </a:p>
                  </a:txBody>
                  <a:tcPr anchor="ctr"/>
                </a:tc>
              </a:tr>
              <a:tr h="32764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알레르기비염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4,549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4,946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5,564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5,676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5,826</a:t>
                      </a:r>
                      <a:endParaRPr lang="ko-KR" altLang="en-US" sz="1200" dirty="0"/>
                    </a:p>
                  </a:txBody>
                  <a:tcPr anchor="ctr"/>
                </a:tc>
              </a:tr>
              <a:tr h="32764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천식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2,406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2,419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2,333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2,341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2,281</a:t>
                      </a:r>
                      <a:endParaRPr lang="ko-KR" altLang="en-US" sz="1200" dirty="0"/>
                    </a:p>
                  </a:txBody>
                  <a:tcPr anchor="ctr"/>
                </a:tc>
              </a:tr>
              <a:tr h="32764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아토피피부염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1,136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1,142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1,060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1,074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1,038</a:t>
                      </a:r>
                      <a:endParaRPr lang="ko-KR" altLang="en-US" sz="1200" dirty="0"/>
                    </a:p>
                  </a:txBody>
                  <a:tcPr anchor="ctr"/>
                </a:tc>
              </a:tr>
              <a:tr h="32764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전체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7,245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7,587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8,304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8,125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8,187</a:t>
                      </a:r>
                      <a:endParaRPr lang="ko-KR" altLang="en-US" sz="1200" dirty="0"/>
                    </a:p>
                  </a:txBody>
                  <a:tcPr anchor="ctr"/>
                </a:tc>
              </a:tr>
              <a:tr h="32764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1</a:t>
                      </a:r>
                      <a:r>
                        <a:rPr lang="ko-KR" altLang="en-US" sz="1200" dirty="0" err="1" smtClean="0"/>
                        <a:t>만명당</a:t>
                      </a:r>
                      <a:r>
                        <a:rPr lang="en-US" altLang="ko-KR" sz="1200" dirty="0" smtClean="0"/>
                        <a:t>(</a:t>
                      </a:r>
                      <a:r>
                        <a:rPr lang="ko-KR" altLang="en-US" sz="1200" dirty="0" smtClean="0"/>
                        <a:t>명</a:t>
                      </a:r>
                      <a:r>
                        <a:rPr lang="en-US" altLang="ko-KR" sz="1200" dirty="0" smtClean="0"/>
                        <a:t>)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1,458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1,517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1,654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1,606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1,608</a:t>
                      </a:r>
                      <a:endParaRPr lang="ko-KR" altLang="en-US" sz="12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1305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1200364" y="534357"/>
            <a:ext cx="7339844" cy="3754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3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생애주기별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맞춤형 「국가검진제도」 </a:t>
            </a: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sz="23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94164" y="1173105"/>
            <a:ext cx="8326308" cy="18928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국가검진제도의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목적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 질병의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조기발견과 사전예방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사망률 감소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등</a:t>
            </a:r>
            <a:endParaRPr lang="en-US" altLang="ko-KR" sz="1600" b="1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건강검진에 대한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만족도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  응답자의 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64.9%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 만족 의견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12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기준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</a:p>
          <a:p>
            <a:pPr fontAlgn="base">
              <a:lnSpc>
                <a:spcPct val="150000"/>
              </a:lnSpc>
            </a:pP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는 검진제도의 분산 운영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검진주기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항목이 일부 부적절하게 운영</a:t>
            </a:r>
            <a:endParaRPr lang="en-US" altLang="ko-KR" sz="14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또한 검진결과의 후속연계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사후관리 수단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미흡으로 실효성이 낮음</a:t>
            </a:r>
            <a:endParaRPr lang="en-US" altLang="ko-KR" sz="14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초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중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고 건강검진은 교육부 소관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학교장이 자의적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인위적인 검진기관 선택</a:t>
            </a:r>
            <a:endParaRPr lang="en-US" altLang="ko-KR" sz="1600" b="1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002591" y="5569233"/>
            <a:ext cx="753761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관계부처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교육부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고용노동부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)·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학계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검진기관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단체 등과의</a:t>
            </a:r>
            <a:endParaRPr lang="en-US" altLang="ko-KR" sz="20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긴밀한 협의 통해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국가검진 실효성 개선대책」 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  <a:endParaRPr lang="ko-KR" altLang="en-US" sz="2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770" y="3429000"/>
            <a:ext cx="3465160" cy="1476599"/>
          </a:xfrm>
          <a:prstGeom prst="rect">
            <a:avLst/>
          </a:prstGeom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2949" y="3552432"/>
            <a:ext cx="4377121" cy="135560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오른쪽 화살표 14"/>
          <p:cNvSpPr/>
          <p:nvPr/>
        </p:nvSpPr>
        <p:spPr>
          <a:xfrm>
            <a:off x="3023828" y="137549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오른쪽 화살표 15"/>
          <p:cNvSpPr/>
          <p:nvPr/>
        </p:nvSpPr>
        <p:spPr>
          <a:xfrm>
            <a:off x="3254524" y="171460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오른쪽 화살표 16"/>
          <p:cNvSpPr/>
          <p:nvPr/>
        </p:nvSpPr>
        <p:spPr>
          <a:xfrm>
            <a:off x="4427984" y="276946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오른쪽 화살표 17"/>
          <p:cNvSpPr/>
          <p:nvPr/>
        </p:nvSpPr>
        <p:spPr>
          <a:xfrm>
            <a:off x="538139" y="5738318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19" name="그룹 18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20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22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TextBox 22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24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21" name="그림 2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82023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1109157" y="488310"/>
            <a:ext cx="7423283" cy="3631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altLang="ko-KR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『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정부와 사회의 품 안에서</a:t>
            </a:r>
            <a:r>
              <a:rPr lang="en-US" altLang="ko-KR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1020 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미혼모</a:t>
            </a:r>
            <a:r>
              <a:rPr lang="en-US" altLang="ko-KR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』 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sz="22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93065" y="1195169"/>
            <a:ext cx="839941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1020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미혼모 대다수 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경제적 형편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사회적 편견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부모와의 단절 등 고통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해외 미혼모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스웨덴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55%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노르웨이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54%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미국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50.4%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프랑스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50%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영국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44% </a:t>
            </a:r>
            <a:r>
              <a:rPr lang="ko-KR" altLang="en-US" sz="16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정부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적극 지원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가장 큰 문제는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저출산과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미혼모의 문제를 분리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차별 지원하는 복지정책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710499" y="6060973"/>
            <a:ext cx="834399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유교적 시각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편견 버리고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기초수급 및 사회적 약자」로 지원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강화</a:t>
            </a:r>
            <a:endParaRPr lang="ko-KR" altLang="en-US" sz="20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1063" y="2436675"/>
            <a:ext cx="3055733" cy="3429000"/>
          </a:xfrm>
          <a:prstGeom prst="rect">
            <a:avLst/>
          </a:prstGeom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582" y="2627764"/>
            <a:ext cx="3536255" cy="315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직사각형 9"/>
          <p:cNvSpPr/>
          <p:nvPr/>
        </p:nvSpPr>
        <p:spPr>
          <a:xfrm>
            <a:off x="981777" y="4941168"/>
            <a:ext cx="3508060" cy="839720"/>
          </a:xfrm>
          <a:prstGeom prst="rect">
            <a:avLst/>
          </a:prstGeom>
          <a:solidFill>
            <a:schemeClr val="tx1">
              <a:lumMod val="95000"/>
              <a:lumOff val="5000"/>
              <a:alpha val="45000"/>
            </a:schemeClr>
          </a:solidFill>
          <a:ln>
            <a:solidFill>
              <a:schemeClr val="tx1">
                <a:lumMod val="95000"/>
                <a:lumOff val="5000"/>
                <a:alpha val="48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51631" y="5000845"/>
            <a:ext cx="316835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2013</a:t>
            </a:r>
            <a:r>
              <a:rPr lang="ko-KR" altLang="en-US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년 한 해에만 </a:t>
            </a:r>
            <a:r>
              <a:rPr lang="en-US" altLang="ko-KR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208</a:t>
            </a:r>
            <a:r>
              <a:rPr lang="ko-KR" altLang="en-US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명의 아기들이 베이비박스에 유기</a:t>
            </a:r>
            <a:endParaRPr lang="ko-KR" altLang="en-US" sz="1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2" name="오른쪽 화살표 21"/>
          <p:cNvSpPr/>
          <p:nvPr/>
        </p:nvSpPr>
        <p:spPr>
          <a:xfrm>
            <a:off x="2915816" y="136972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오른쪽 화살표 22"/>
          <p:cNvSpPr/>
          <p:nvPr/>
        </p:nvSpPr>
        <p:spPr>
          <a:xfrm>
            <a:off x="7108790" y="173022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오른쪽 화살표 23"/>
          <p:cNvSpPr/>
          <p:nvPr/>
        </p:nvSpPr>
        <p:spPr>
          <a:xfrm>
            <a:off x="298427" y="6221664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25" name="그룹 24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26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28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TextBox 28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30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27" name="그림 26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33288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1476021" y="540454"/>
            <a:ext cx="7376158" cy="3754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유보통합 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대비 </a:t>
            </a:r>
            <a:r>
              <a:rPr lang="en-US" altLang="ko-KR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『</a:t>
            </a:r>
            <a:r>
              <a:rPr lang="ko-KR" altLang="en-US" sz="22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육어린이집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건강성 강화</a:t>
            </a:r>
            <a:r>
              <a:rPr lang="en-US" altLang="ko-KR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』</a:t>
            </a:r>
            <a:endParaRPr lang="en-US" sz="22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8407" y="1201680"/>
            <a:ext cx="847032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유보통합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유치원과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어린이집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격차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해소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정책통합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등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보육서비스 체계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선이 목적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황우여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사회부총리겸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교육부장관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“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유보통합 조속히 마칠 것”</a:t>
            </a:r>
            <a:r>
              <a:rPr lang="en-US" altLang="ko-KR" sz="11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1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인사청문회</a:t>
            </a:r>
            <a:r>
              <a:rPr lang="en-US" altLang="ko-KR" sz="11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,14.8.8)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천명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문제①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복지부의 유보통합추진에 대비한 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보육어린이집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시설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)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입장에서의 대책 부실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문제②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현재의 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보육어린이집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경쟁력↑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보육교사 질↑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법정단체 혁신 문제 등 방치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530601" y="6083264"/>
            <a:ext cx="8532440" cy="4821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표준보육비 지원 확대」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등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 </a:t>
            </a:r>
            <a:r>
              <a:rPr lang="ko-KR" altLang="en-US" sz="20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보육어린이집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현안 해결에 적극 노력  필요</a:t>
            </a:r>
            <a:endParaRPr lang="ko-KR" altLang="en-US" sz="2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13315" name="Picture 3" descr="http://www.cyber4u.co.kr/Content/Boards/scsmadmin1/%EC%9C%A0%EB%B3%B4%ED%86%B5%ED%95%A9%20-%20%EC%96%B4%EB%A6%B0%EC%9D%B4_b65283cfe5434011b3d7cc88dee323fc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147" y="3066265"/>
            <a:ext cx="4241160" cy="2520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4998976" y="4132997"/>
            <a:ext cx="2880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 smtClean="0">
                <a:solidFill>
                  <a:schemeClr val="accent1"/>
                </a:solidFill>
              </a:rPr>
              <a:t>▶</a:t>
            </a:r>
            <a:endParaRPr lang="ko-KR" altLang="en-US" dirty="0">
              <a:solidFill>
                <a:schemeClr val="accent1"/>
              </a:solidFill>
            </a:endParaRPr>
          </a:p>
        </p:txBody>
      </p:sp>
      <p:pic>
        <p:nvPicPr>
          <p:cNvPr id="10" name="그림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0111" y="3501008"/>
            <a:ext cx="3066667" cy="1650794"/>
          </a:xfrm>
          <a:prstGeom prst="rect">
            <a:avLst/>
          </a:prstGeom>
        </p:spPr>
      </p:pic>
      <p:sp>
        <p:nvSpPr>
          <p:cNvPr id="21" name="오른쪽 화살표 20"/>
          <p:cNvSpPr/>
          <p:nvPr/>
        </p:nvSpPr>
        <p:spPr>
          <a:xfrm>
            <a:off x="268840" y="6227892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22" name="그룹 21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23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25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6" name="TextBox 25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27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24" name="그림 23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64854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953583" y="394860"/>
            <a:ext cx="7585412" cy="3754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3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초중고</a:t>
            </a: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교과서 수록</a:t>
            </a:r>
            <a:r>
              <a:rPr lang="en-US" altLang="ko-KR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식품</a:t>
            </a:r>
            <a:r>
              <a:rPr lang="en-US" altLang="ko-KR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안전</a:t>
            </a:r>
            <a:r>
              <a:rPr lang="en-US" altLang="ko-KR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 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내용 분석</a:t>
            </a:r>
            <a:r>
              <a:rPr lang="en-US" altLang="ko-KR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개선방안</a:t>
            </a:r>
            <a:endParaRPr lang="en-US" sz="230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841449" y="5638905"/>
            <a:ext cx="811835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2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학교급별로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식품안전 교육의 적정화 및 체계화 확립</a:t>
            </a:r>
            <a:r>
              <a:rPr lang="en-US" altLang="ko-KR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부처의 </a:t>
            </a:r>
            <a:endParaRPr lang="en-US" altLang="ko-KR" sz="22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교육 및 홍보자료 반영 추진</a:t>
            </a:r>
            <a:endParaRPr lang="ko-KR" altLang="en-US" sz="22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6230" y="1027156"/>
            <a:ext cx="8344242" cy="25391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교과서는 학생에게 식품안전에 대한 이해 및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정보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제공하는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최고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최선의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기초자료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초교 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5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학년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영양에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한 기초지식과 식사방법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6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학년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음식만들기와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동물성 식품 소개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중등 기술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가정교과서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생활 속의 식품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식품 특징과 선택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보관방법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균형식단 등 소개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고교 기술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가정교과서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식품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생명과학의 이해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보건과 비만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영양소 등 소개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·</a:t>
            </a:r>
            <a:r>
              <a:rPr lang="ko-KR" altLang="en-US" sz="14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개선</a:t>
            </a:r>
            <a:r>
              <a:rPr lang="ko-KR" altLang="en-US" sz="14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①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대부분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식품 성분과 영양에 대한 교육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→</a:t>
            </a:r>
            <a:r>
              <a:rPr lang="ko-KR" altLang="en-US" sz="14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식품안전정보에 대한 정보가 양적으로 매우 부족</a:t>
            </a:r>
            <a:endParaRPr lang="ko-KR" altLang="en-US" sz="1400" spc="-1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·</a:t>
            </a:r>
            <a:r>
              <a:rPr lang="ko-KR" altLang="en-US" sz="14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개선</a:t>
            </a:r>
            <a:r>
              <a:rPr lang="ko-KR" altLang="en-US" sz="14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②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특히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중학교 교과과정 </a:t>
            </a:r>
            <a:r>
              <a:rPr lang="ko-KR" altLang="en-US" sz="14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→</a:t>
            </a:r>
            <a:r>
              <a:rPr lang="ko-KR" altLang="en-US" sz="14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식품 안전</a:t>
            </a:r>
            <a:r>
              <a:rPr lang="en-US" altLang="ko-KR" sz="14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위생 및 관련 질병에 대해 다루지 않고 있음</a:t>
            </a:r>
            <a:endParaRPr lang="ko-KR" altLang="en-US" sz="1400" spc="-1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·</a:t>
            </a:r>
            <a:r>
              <a:rPr lang="ko-KR" altLang="en-US" sz="14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개선</a:t>
            </a:r>
            <a:r>
              <a:rPr lang="ko-KR" altLang="en-US" sz="14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③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초등학교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저학년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올바른 식습관 등을 다루고 있지 않음 </a:t>
            </a:r>
            <a:r>
              <a:rPr lang="ko-KR" altLang="en-US" sz="14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→</a:t>
            </a:r>
            <a:r>
              <a:rPr lang="ko-KR" altLang="en-US" sz="14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b="1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학교급별</a:t>
            </a:r>
            <a:r>
              <a:rPr lang="ko-KR" altLang="en-US" sz="14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식품분야 연계성 미흡</a:t>
            </a:r>
            <a:endParaRPr lang="ko-KR" altLang="en-US" sz="1400" spc="-1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34" name="오른쪽 화살표 33"/>
          <p:cNvSpPr/>
          <p:nvPr/>
        </p:nvSpPr>
        <p:spPr>
          <a:xfrm>
            <a:off x="371366" y="5805264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35" name="그룹 34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36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39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40" name="TextBox 39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41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7" name="그림 3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  <p:sp>
        <p:nvSpPr>
          <p:cNvPr id="2" name="AutoShape 6"/>
          <p:cNvSpPr>
            <a:spLocks noChangeAspect="1" noChangeArrowheads="1"/>
          </p:cNvSpPr>
          <p:nvPr/>
        </p:nvSpPr>
        <p:spPr bwMode="auto">
          <a:xfrm>
            <a:off x="76200" y="-136525"/>
            <a:ext cx="4876800" cy="6048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pic>
        <p:nvPicPr>
          <p:cNvPr id="3080" name="Picture 8" descr="http://www.jihak.co.kr/tb/book_cover/07870120140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224" y="3797063"/>
            <a:ext cx="1447168" cy="170604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http://www.srbook.co.kr/files/product/1000/458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5032" y="3783842"/>
            <a:ext cx="1343025" cy="171926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4" name="Picture 12" descr="http://www.wngo.kr/imgdata/wngo_kr/201204/2012040523436558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1075" y="3770274"/>
            <a:ext cx="2958105" cy="179485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83798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직사각형 15"/>
          <p:cNvSpPr/>
          <p:nvPr/>
        </p:nvSpPr>
        <p:spPr>
          <a:xfrm>
            <a:off x="371853" y="2324030"/>
            <a:ext cx="8430970" cy="152978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/>
          <p:cNvSpPr txBox="1"/>
          <p:nvPr/>
        </p:nvSpPr>
        <p:spPr>
          <a:xfrm>
            <a:off x="1198399" y="299397"/>
            <a:ext cx="7585412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2400" dirty="0" smtClean="0">
                <a:solidFill>
                  <a:schemeClr val="accent1">
                    <a:lumMod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쇄신과제 ①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보건복지 공무원 및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인재육성 추진</a:t>
            </a:r>
            <a:endParaRPr lang="en-US" altLang="ko-KR" sz="240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>
              <a:lnSpc>
                <a:spcPct val="150000"/>
              </a:lnSpc>
            </a:pPr>
            <a:r>
              <a:rPr lang="en-US" dirty="0" smtClean="0">
                <a:latin typeface="HY견명조" panose="02030600000101010101" pitchFamily="18" charset="-127"/>
                <a:ea typeface="HY견명조" panose="02030600000101010101" pitchFamily="18" charset="-127"/>
              </a:rPr>
              <a:t>- </a:t>
            </a:r>
            <a:r>
              <a:rPr lang="ko-KR" altLang="en-US" dirty="0" smtClean="0">
                <a:latin typeface="HY견명조" panose="02030600000101010101" pitchFamily="18" charset="-127"/>
                <a:ea typeface="HY견명조" panose="02030600000101010101" pitchFamily="18" charset="-127"/>
              </a:rPr>
              <a:t>「일」은 「사람」이 수행</a:t>
            </a:r>
            <a:r>
              <a:rPr lang="en-US" altLang="ko-KR" dirty="0" smtClean="0">
                <a:latin typeface="HY견명조" panose="02030600000101010101" pitchFamily="18" charset="-127"/>
                <a:ea typeface="HY견명조" panose="02030600000101010101" pitchFamily="18" charset="-127"/>
              </a:rPr>
              <a:t>, </a:t>
            </a:r>
            <a:r>
              <a:rPr lang="ko-KR" altLang="en-US" dirty="0" smtClean="0">
                <a:latin typeface="HY견명조" panose="02030600000101010101" pitchFamily="18" charset="-127"/>
                <a:ea typeface="HY견명조" panose="02030600000101010101" pitchFamily="18" charset="-127"/>
              </a:rPr>
              <a:t>업무추진 할 인재 체계적 육성 </a:t>
            </a:r>
            <a:r>
              <a:rPr lang="en-US" altLang="ko-KR" dirty="0" smtClean="0">
                <a:latin typeface="HY견명조" panose="02030600000101010101" pitchFamily="18" charset="-127"/>
                <a:ea typeface="HY견명조" panose="02030600000101010101" pitchFamily="18" charset="-127"/>
              </a:rPr>
              <a:t>-</a:t>
            </a:r>
            <a:endParaRPr lang="en-US" dirty="0" smtClean="0">
              <a:latin typeface="HY견명조" panose="02030600000101010101" pitchFamily="18" charset="-127"/>
              <a:ea typeface="HY견명조" panose="02030600000101010101" pitchFamily="18" charset="-127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41416" y="1598941"/>
            <a:ext cx="8344242" cy="48474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□ 현황 및 실태 판단</a:t>
            </a:r>
            <a:endParaRPr lang="en-US" altLang="ko-KR" sz="16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fontAlgn="base">
              <a:lnSpc>
                <a:spcPct val="200000"/>
              </a:lnSpc>
            </a:pP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      보건복지업무 </a:t>
            </a:r>
            <a:r>
              <a:rPr lang="ko-KR" altLang="en-US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수행의 자긍심과 보람의식</a:t>
            </a:r>
            <a:r>
              <a:rPr lang="en-US" altLang="ko-KR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사기 저하 우려</a:t>
            </a:r>
            <a:endParaRPr lang="en-US" altLang="ko-KR" sz="16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fontAlgn="base">
              <a:lnSpc>
                <a:spcPct val="200000"/>
              </a:lnSpc>
            </a:pP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    「</a:t>
            </a:r>
            <a:r>
              <a:rPr lang="ko-KR" altLang="en-US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업무수요증가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」에 비해 업무처리 인력 충원 한계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업무와 인력 불균형</a:t>
            </a:r>
            <a:endParaRPr lang="en-US" altLang="ko-KR" sz="16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fontAlgn="base">
              <a:lnSpc>
                <a:spcPct val="200000"/>
              </a:lnSpc>
            </a:pP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      타 부처 공무원보다 승진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업무밀도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난이도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민원관련 여건 등 상대적 불리</a:t>
            </a:r>
            <a:endParaRPr lang="en-US" altLang="ko-KR" sz="16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&lt;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쇄신방안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&gt;</a:t>
            </a:r>
          </a:p>
          <a:p>
            <a:pPr fontAlgn="base">
              <a:lnSpc>
                <a:spcPct val="150000"/>
              </a:lnSpc>
            </a:pPr>
            <a:endParaRPr lang="en-US" altLang="ko-KR" sz="16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① 중장기 보건복지 인력 충원 및 분야별 인재 양성 계획 수립 하에 체계적 관리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특히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보건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의료분야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의사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약사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간호사 등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장학금 수여 등 공직선택 유도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적극적 모집</a:t>
            </a:r>
            <a:endParaRPr lang="en-US" altLang="ko-KR" sz="14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② 미국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유럽 등 선진국 우수인력과 해외 교류기회 확대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해외세미나 참여강화 등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③ 사기앙양 위한 보건의료복지분야 인사쇄신 수당강화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지방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민간과의 교류추진 등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grpSp>
        <p:nvGrpSpPr>
          <p:cNvPr id="35" name="그룹 34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36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39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40" name="TextBox 39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41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7" name="그림 3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  <p:grpSp>
        <p:nvGrpSpPr>
          <p:cNvPr id="13" name="그룹 12"/>
          <p:cNvGrpSpPr/>
          <p:nvPr/>
        </p:nvGrpSpPr>
        <p:grpSpPr>
          <a:xfrm>
            <a:off x="1153344" y="436953"/>
            <a:ext cx="433997" cy="433997"/>
            <a:chOff x="1053286" y="515021"/>
            <a:chExt cx="433997" cy="433997"/>
          </a:xfrm>
        </p:grpSpPr>
        <p:sp>
          <p:nvSpPr>
            <p:cNvPr id="14" name="Oval 45"/>
            <p:cNvSpPr/>
            <p:nvPr/>
          </p:nvSpPr>
          <p:spPr>
            <a:xfrm>
              <a:off x="1053286" y="515021"/>
              <a:ext cx="433997" cy="433997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Freeform 13"/>
            <p:cNvSpPr>
              <a:spLocks noEditPoints="1"/>
            </p:cNvSpPr>
            <p:nvPr/>
          </p:nvSpPr>
          <p:spPr bwMode="auto">
            <a:xfrm rot="10585247" flipV="1">
              <a:off x="1160800" y="600128"/>
              <a:ext cx="218969" cy="263783"/>
            </a:xfrm>
            <a:custGeom>
              <a:avLst/>
              <a:gdLst>
                <a:gd name="T0" fmla="*/ 2022 w 2403"/>
                <a:gd name="T1" fmla="*/ 144 h 2897"/>
                <a:gd name="T2" fmla="*/ 1852 w 2403"/>
                <a:gd name="T3" fmla="*/ 57 h 2897"/>
                <a:gd name="T4" fmla="*/ 1632 w 2403"/>
                <a:gd name="T5" fmla="*/ 1 h 2897"/>
                <a:gd name="T6" fmla="*/ 1548 w 2403"/>
                <a:gd name="T7" fmla="*/ 2 h 2897"/>
                <a:gd name="T8" fmla="*/ 1491 w 2403"/>
                <a:gd name="T9" fmla="*/ 23 h 2897"/>
                <a:gd name="T10" fmla="*/ 785 w 2403"/>
                <a:gd name="T11" fmla="*/ 948 h 2897"/>
                <a:gd name="T12" fmla="*/ 48 w 2403"/>
                <a:gd name="T13" fmla="*/ 1933 h 2897"/>
                <a:gd name="T14" fmla="*/ 30 w 2403"/>
                <a:gd name="T15" fmla="*/ 1995 h 2897"/>
                <a:gd name="T16" fmla="*/ 3 w 2403"/>
                <a:gd name="T17" fmla="*/ 2340 h 2897"/>
                <a:gd name="T18" fmla="*/ 7 w 2403"/>
                <a:gd name="T19" fmla="*/ 2732 h 2897"/>
                <a:gd name="T20" fmla="*/ 27 w 2403"/>
                <a:gd name="T21" fmla="*/ 2871 h 2897"/>
                <a:gd name="T22" fmla="*/ 42 w 2403"/>
                <a:gd name="T23" fmla="*/ 2891 h 2897"/>
                <a:gd name="T24" fmla="*/ 118 w 2403"/>
                <a:gd name="T25" fmla="*/ 2896 h 2897"/>
                <a:gd name="T26" fmla="*/ 340 w 2403"/>
                <a:gd name="T27" fmla="*/ 2850 h 2897"/>
                <a:gd name="T28" fmla="*/ 724 w 2403"/>
                <a:gd name="T29" fmla="*/ 2722 h 2897"/>
                <a:gd name="T30" fmla="*/ 926 w 2403"/>
                <a:gd name="T31" fmla="*/ 2628 h 2897"/>
                <a:gd name="T32" fmla="*/ 987 w 2403"/>
                <a:gd name="T33" fmla="*/ 2578 h 2897"/>
                <a:gd name="T34" fmla="*/ 1454 w 2403"/>
                <a:gd name="T35" fmla="*/ 1961 h 2897"/>
                <a:gd name="T36" fmla="*/ 2390 w 2403"/>
                <a:gd name="T37" fmla="*/ 675 h 2897"/>
                <a:gd name="T38" fmla="*/ 2403 w 2403"/>
                <a:gd name="T39" fmla="*/ 631 h 2897"/>
                <a:gd name="T40" fmla="*/ 2392 w 2403"/>
                <a:gd name="T41" fmla="*/ 562 h 2897"/>
                <a:gd name="T42" fmla="*/ 2334 w 2403"/>
                <a:gd name="T43" fmla="*/ 447 h 2897"/>
                <a:gd name="T44" fmla="*/ 2193 w 2403"/>
                <a:gd name="T45" fmla="*/ 279 h 2897"/>
                <a:gd name="T46" fmla="*/ 1398 w 2403"/>
                <a:gd name="T47" fmla="*/ 308 h 2897"/>
                <a:gd name="T48" fmla="*/ 1421 w 2403"/>
                <a:gd name="T49" fmla="*/ 290 h 2897"/>
                <a:gd name="T50" fmla="*/ 1468 w 2403"/>
                <a:gd name="T51" fmla="*/ 287 h 2897"/>
                <a:gd name="T52" fmla="*/ 1528 w 2403"/>
                <a:gd name="T53" fmla="*/ 313 h 2897"/>
                <a:gd name="T54" fmla="*/ 1580 w 2403"/>
                <a:gd name="T55" fmla="*/ 368 h 2897"/>
                <a:gd name="T56" fmla="*/ 1587 w 2403"/>
                <a:gd name="T57" fmla="*/ 409 h 2897"/>
                <a:gd name="T58" fmla="*/ 337 w 2403"/>
                <a:gd name="T59" fmla="*/ 1902 h 2897"/>
                <a:gd name="T60" fmla="*/ 473 w 2403"/>
                <a:gd name="T61" fmla="*/ 2660 h 2897"/>
                <a:gd name="T62" fmla="*/ 364 w 2403"/>
                <a:gd name="T63" fmla="*/ 2709 h 2897"/>
                <a:gd name="T64" fmla="*/ 169 w 2403"/>
                <a:gd name="T65" fmla="*/ 2764 h 2897"/>
                <a:gd name="T66" fmla="*/ 134 w 2403"/>
                <a:gd name="T67" fmla="*/ 2763 h 2897"/>
                <a:gd name="T68" fmla="*/ 125 w 2403"/>
                <a:gd name="T69" fmla="*/ 2643 h 2897"/>
                <a:gd name="T70" fmla="*/ 137 w 2403"/>
                <a:gd name="T71" fmla="*/ 2423 h 2897"/>
                <a:gd name="T72" fmla="*/ 151 w 2403"/>
                <a:gd name="T73" fmla="*/ 2404 h 2897"/>
                <a:gd name="T74" fmla="*/ 206 w 2403"/>
                <a:gd name="T75" fmla="*/ 2409 h 2897"/>
                <a:gd name="T76" fmla="*/ 355 w 2403"/>
                <a:gd name="T77" fmla="*/ 2486 h 2897"/>
                <a:gd name="T78" fmla="*/ 454 w 2403"/>
                <a:gd name="T79" fmla="*/ 2577 h 2897"/>
                <a:gd name="T80" fmla="*/ 480 w 2403"/>
                <a:gd name="T81" fmla="*/ 2630 h 2897"/>
                <a:gd name="T82" fmla="*/ 490 w 2403"/>
                <a:gd name="T83" fmla="*/ 2117 h 2897"/>
                <a:gd name="T84" fmla="*/ 1708 w 2403"/>
                <a:gd name="T85" fmla="*/ 446 h 2897"/>
                <a:gd name="T86" fmla="*/ 1748 w 2403"/>
                <a:gd name="T87" fmla="*/ 445 h 2897"/>
                <a:gd name="T88" fmla="*/ 1821 w 2403"/>
                <a:gd name="T89" fmla="*/ 478 h 2897"/>
                <a:gd name="T90" fmla="*/ 1867 w 2403"/>
                <a:gd name="T91" fmla="*/ 520 h 2897"/>
                <a:gd name="T92" fmla="*/ 1888 w 2403"/>
                <a:gd name="T93" fmla="*/ 565 h 2897"/>
                <a:gd name="T94" fmla="*/ 624 w 2403"/>
                <a:gd name="T95" fmla="*/ 2291 h 2897"/>
                <a:gd name="T96" fmla="*/ 902 w 2403"/>
                <a:gd name="T97" fmla="*/ 2386 h 2897"/>
                <a:gd name="T98" fmla="*/ 1979 w 2403"/>
                <a:gd name="T99" fmla="*/ 672 h 2897"/>
                <a:gd name="T100" fmla="*/ 2014 w 2403"/>
                <a:gd name="T101" fmla="*/ 670 h 2897"/>
                <a:gd name="T102" fmla="*/ 2067 w 2403"/>
                <a:gd name="T103" fmla="*/ 704 h 2897"/>
                <a:gd name="T104" fmla="*/ 2108 w 2403"/>
                <a:gd name="T105" fmla="*/ 754 h 2897"/>
                <a:gd name="T106" fmla="*/ 2123 w 2403"/>
                <a:gd name="T107" fmla="*/ 801 h 2897"/>
                <a:gd name="T108" fmla="*/ 2117 w 2403"/>
                <a:gd name="T109" fmla="*/ 835 h 2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403" h="2897">
                  <a:moveTo>
                    <a:pt x="2095" y="193"/>
                  </a:moveTo>
                  <a:lnTo>
                    <a:pt x="2095" y="193"/>
                  </a:lnTo>
                  <a:lnTo>
                    <a:pt x="2071" y="176"/>
                  </a:lnTo>
                  <a:lnTo>
                    <a:pt x="2046" y="159"/>
                  </a:lnTo>
                  <a:lnTo>
                    <a:pt x="2022" y="144"/>
                  </a:lnTo>
                  <a:lnTo>
                    <a:pt x="1998" y="129"/>
                  </a:lnTo>
                  <a:lnTo>
                    <a:pt x="1974" y="115"/>
                  </a:lnTo>
                  <a:lnTo>
                    <a:pt x="1948" y="101"/>
                  </a:lnTo>
                  <a:lnTo>
                    <a:pt x="1900" y="78"/>
                  </a:lnTo>
                  <a:lnTo>
                    <a:pt x="1852" y="57"/>
                  </a:lnTo>
                  <a:lnTo>
                    <a:pt x="1803" y="40"/>
                  </a:lnTo>
                  <a:lnTo>
                    <a:pt x="1757" y="25"/>
                  </a:lnTo>
                  <a:lnTo>
                    <a:pt x="1714" y="14"/>
                  </a:lnTo>
                  <a:lnTo>
                    <a:pt x="1671" y="6"/>
                  </a:lnTo>
                  <a:lnTo>
                    <a:pt x="1632" y="1"/>
                  </a:lnTo>
                  <a:lnTo>
                    <a:pt x="1613" y="0"/>
                  </a:lnTo>
                  <a:lnTo>
                    <a:pt x="1595" y="0"/>
                  </a:lnTo>
                  <a:lnTo>
                    <a:pt x="1580" y="0"/>
                  </a:lnTo>
                  <a:lnTo>
                    <a:pt x="1564" y="1"/>
                  </a:lnTo>
                  <a:lnTo>
                    <a:pt x="1548" y="2"/>
                  </a:lnTo>
                  <a:lnTo>
                    <a:pt x="1535" y="5"/>
                  </a:lnTo>
                  <a:lnTo>
                    <a:pt x="1521" y="8"/>
                  </a:lnTo>
                  <a:lnTo>
                    <a:pt x="1511" y="12"/>
                  </a:lnTo>
                  <a:lnTo>
                    <a:pt x="1500" y="17"/>
                  </a:lnTo>
                  <a:lnTo>
                    <a:pt x="1491" y="23"/>
                  </a:lnTo>
                  <a:lnTo>
                    <a:pt x="1484" y="29"/>
                  </a:lnTo>
                  <a:lnTo>
                    <a:pt x="1477" y="36"/>
                  </a:lnTo>
                  <a:lnTo>
                    <a:pt x="1477" y="36"/>
                  </a:lnTo>
                  <a:lnTo>
                    <a:pt x="1253" y="331"/>
                  </a:lnTo>
                  <a:lnTo>
                    <a:pt x="785" y="948"/>
                  </a:lnTo>
                  <a:lnTo>
                    <a:pt x="532" y="1283"/>
                  </a:lnTo>
                  <a:lnTo>
                    <a:pt x="304" y="1584"/>
                  </a:lnTo>
                  <a:lnTo>
                    <a:pt x="134" y="1813"/>
                  </a:lnTo>
                  <a:lnTo>
                    <a:pt x="78" y="1890"/>
                  </a:lnTo>
                  <a:lnTo>
                    <a:pt x="48" y="1933"/>
                  </a:lnTo>
                  <a:lnTo>
                    <a:pt x="48" y="1933"/>
                  </a:lnTo>
                  <a:lnTo>
                    <a:pt x="43" y="1943"/>
                  </a:lnTo>
                  <a:lnTo>
                    <a:pt x="38" y="1956"/>
                  </a:lnTo>
                  <a:lnTo>
                    <a:pt x="33" y="1974"/>
                  </a:lnTo>
                  <a:lnTo>
                    <a:pt x="30" y="1995"/>
                  </a:lnTo>
                  <a:lnTo>
                    <a:pt x="23" y="2047"/>
                  </a:lnTo>
                  <a:lnTo>
                    <a:pt x="15" y="2110"/>
                  </a:lnTo>
                  <a:lnTo>
                    <a:pt x="10" y="2181"/>
                  </a:lnTo>
                  <a:lnTo>
                    <a:pt x="6" y="2259"/>
                  </a:lnTo>
                  <a:lnTo>
                    <a:pt x="3" y="2340"/>
                  </a:lnTo>
                  <a:lnTo>
                    <a:pt x="1" y="2423"/>
                  </a:lnTo>
                  <a:lnTo>
                    <a:pt x="0" y="2507"/>
                  </a:lnTo>
                  <a:lnTo>
                    <a:pt x="1" y="2588"/>
                  </a:lnTo>
                  <a:lnTo>
                    <a:pt x="3" y="2663"/>
                  </a:lnTo>
                  <a:lnTo>
                    <a:pt x="7" y="2732"/>
                  </a:lnTo>
                  <a:lnTo>
                    <a:pt x="12" y="2790"/>
                  </a:lnTo>
                  <a:lnTo>
                    <a:pt x="15" y="2815"/>
                  </a:lnTo>
                  <a:lnTo>
                    <a:pt x="19" y="2837"/>
                  </a:lnTo>
                  <a:lnTo>
                    <a:pt x="23" y="2856"/>
                  </a:lnTo>
                  <a:lnTo>
                    <a:pt x="27" y="2871"/>
                  </a:lnTo>
                  <a:lnTo>
                    <a:pt x="32" y="2882"/>
                  </a:lnTo>
                  <a:lnTo>
                    <a:pt x="35" y="2885"/>
                  </a:lnTo>
                  <a:lnTo>
                    <a:pt x="37" y="2888"/>
                  </a:lnTo>
                  <a:lnTo>
                    <a:pt x="37" y="2888"/>
                  </a:lnTo>
                  <a:lnTo>
                    <a:pt x="42" y="2891"/>
                  </a:lnTo>
                  <a:lnTo>
                    <a:pt x="47" y="2893"/>
                  </a:lnTo>
                  <a:lnTo>
                    <a:pt x="60" y="2896"/>
                  </a:lnTo>
                  <a:lnTo>
                    <a:pt x="76" y="2897"/>
                  </a:lnTo>
                  <a:lnTo>
                    <a:pt x="95" y="2897"/>
                  </a:lnTo>
                  <a:lnTo>
                    <a:pt x="118" y="2896"/>
                  </a:lnTo>
                  <a:lnTo>
                    <a:pt x="144" y="2893"/>
                  </a:lnTo>
                  <a:lnTo>
                    <a:pt x="171" y="2888"/>
                  </a:lnTo>
                  <a:lnTo>
                    <a:pt x="202" y="2883"/>
                  </a:lnTo>
                  <a:lnTo>
                    <a:pt x="267" y="2868"/>
                  </a:lnTo>
                  <a:lnTo>
                    <a:pt x="340" y="2850"/>
                  </a:lnTo>
                  <a:lnTo>
                    <a:pt x="416" y="2829"/>
                  </a:lnTo>
                  <a:lnTo>
                    <a:pt x="494" y="2804"/>
                  </a:lnTo>
                  <a:lnTo>
                    <a:pt x="573" y="2778"/>
                  </a:lnTo>
                  <a:lnTo>
                    <a:pt x="650" y="2751"/>
                  </a:lnTo>
                  <a:lnTo>
                    <a:pt x="724" y="2722"/>
                  </a:lnTo>
                  <a:lnTo>
                    <a:pt x="793" y="2694"/>
                  </a:lnTo>
                  <a:lnTo>
                    <a:pt x="854" y="2666"/>
                  </a:lnTo>
                  <a:lnTo>
                    <a:pt x="880" y="2653"/>
                  </a:lnTo>
                  <a:lnTo>
                    <a:pt x="904" y="2641"/>
                  </a:lnTo>
                  <a:lnTo>
                    <a:pt x="926" y="2628"/>
                  </a:lnTo>
                  <a:lnTo>
                    <a:pt x="946" y="2617"/>
                  </a:lnTo>
                  <a:lnTo>
                    <a:pt x="960" y="2605"/>
                  </a:lnTo>
                  <a:lnTo>
                    <a:pt x="972" y="2595"/>
                  </a:lnTo>
                  <a:lnTo>
                    <a:pt x="972" y="2595"/>
                  </a:lnTo>
                  <a:lnTo>
                    <a:pt x="987" y="2578"/>
                  </a:lnTo>
                  <a:lnTo>
                    <a:pt x="1007" y="2554"/>
                  </a:lnTo>
                  <a:lnTo>
                    <a:pt x="1064" y="2480"/>
                  </a:lnTo>
                  <a:lnTo>
                    <a:pt x="1142" y="2380"/>
                  </a:lnTo>
                  <a:lnTo>
                    <a:pt x="1234" y="2257"/>
                  </a:lnTo>
                  <a:lnTo>
                    <a:pt x="1454" y="1961"/>
                  </a:lnTo>
                  <a:lnTo>
                    <a:pt x="1697" y="1630"/>
                  </a:lnTo>
                  <a:lnTo>
                    <a:pt x="1939" y="1298"/>
                  </a:lnTo>
                  <a:lnTo>
                    <a:pt x="2153" y="1004"/>
                  </a:lnTo>
                  <a:lnTo>
                    <a:pt x="2311" y="784"/>
                  </a:lnTo>
                  <a:lnTo>
                    <a:pt x="2390" y="675"/>
                  </a:lnTo>
                  <a:lnTo>
                    <a:pt x="2390" y="675"/>
                  </a:lnTo>
                  <a:lnTo>
                    <a:pt x="2395" y="665"/>
                  </a:lnTo>
                  <a:lnTo>
                    <a:pt x="2400" y="654"/>
                  </a:lnTo>
                  <a:lnTo>
                    <a:pt x="2402" y="643"/>
                  </a:lnTo>
                  <a:lnTo>
                    <a:pt x="2403" y="631"/>
                  </a:lnTo>
                  <a:lnTo>
                    <a:pt x="2403" y="618"/>
                  </a:lnTo>
                  <a:lnTo>
                    <a:pt x="2403" y="605"/>
                  </a:lnTo>
                  <a:lnTo>
                    <a:pt x="2401" y="591"/>
                  </a:lnTo>
                  <a:lnTo>
                    <a:pt x="2397" y="577"/>
                  </a:lnTo>
                  <a:lnTo>
                    <a:pt x="2392" y="562"/>
                  </a:lnTo>
                  <a:lnTo>
                    <a:pt x="2386" y="547"/>
                  </a:lnTo>
                  <a:lnTo>
                    <a:pt x="2380" y="531"/>
                  </a:lnTo>
                  <a:lnTo>
                    <a:pt x="2373" y="514"/>
                  </a:lnTo>
                  <a:lnTo>
                    <a:pt x="2355" y="481"/>
                  </a:lnTo>
                  <a:lnTo>
                    <a:pt x="2334" y="447"/>
                  </a:lnTo>
                  <a:lnTo>
                    <a:pt x="2310" y="412"/>
                  </a:lnTo>
                  <a:lnTo>
                    <a:pt x="2284" y="378"/>
                  </a:lnTo>
                  <a:lnTo>
                    <a:pt x="2255" y="345"/>
                  </a:lnTo>
                  <a:lnTo>
                    <a:pt x="2226" y="311"/>
                  </a:lnTo>
                  <a:lnTo>
                    <a:pt x="2193" y="279"/>
                  </a:lnTo>
                  <a:lnTo>
                    <a:pt x="2161" y="248"/>
                  </a:lnTo>
                  <a:lnTo>
                    <a:pt x="2128" y="220"/>
                  </a:lnTo>
                  <a:lnTo>
                    <a:pt x="2095" y="193"/>
                  </a:lnTo>
                  <a:lnTo>
                    <a:pt x="2095" y="193"/>
                  </a:lnTo>
                  <a:close/>
                  <a:moveTo>
                    <a:pt x="1398" y="308"/>
                  </a:moveTo>
                  <a:lnTo>
                    <a:pt x="1398" y="308"/>
                  </a:lnTo>
                  <a:lnTo>
                    <a:pt x="1400" y="306"/>
                  </a:lnTo>
                  <a:lnTo>
                    <a:pt x="1405" y="300"/>
                  </a:lnTo>
                  <a:lnTo>
                    <a:pt x="1415" y="294"/>
                  </a:lnTo>
                  <a:lnTo>
                    <a:pt x="1421" y="290"/>
                  </a:lnTo>
                  <a:lnTo>
                    <a:pt x="1428" y="288"/>
                  </a:lnTo>
                  <a:lnTo>
                    <a:pt x="1437" y="285"/>
                  </a:lnTo>
                  <a:lnTo>
                    <a:pt x="1445" y="284"/>
                  </a:lnTo>
                  <a:lnTo>
                    <a:pt x="1456" y="284"/>
                  </a:lnTo>
                  <a:lnTo>
                    <a:pt x="1468" y="287"/>
                  </a:lnTo>
                  <a:lnTo>
                    <a:pt x="1482" y="290"/>
                  </a:lnTo>
                  <a:lnTo>
                    <a:pt x="1495" y="295"/>
                  </a:lnTo>
                  <a:lnTo>
                    <a:pt x="1511" y="303"/>
                  </a:lnTo>
                  <a:lnTo>
                    <a:pt x="1528" y="313"/>
                  </a:lnTo>
                  <a:lnTo>
                    <a:pt x="1528" y="313"/>
                  </a:lnTo>
                  <a:lnTo>
                    <a:pt x="1542" y="325"/>
                  </a:lnTo>
                  <a:lnTo>
                    <a:pt x="1555" y="336"/>
                  </a:lnTo>
                  <a:lnTo>
                    <a:pt x="1565" y="347"/>
                  </a:lnTo>
                  <a:lnTo>
                    <a:pt x="1573" y="357"/>
                  </a:lnTo>
                  <a:lnTo>
                    <a:pt x="1580" y="368"/>
                  </a:lnTo>
                  <a:lnTo>
                    <a:pt x="1583" y="376"/>
                  </a:lnTo>
                  <a:lnTo>
                    <a:pt x="1586" y="386"/>
                  </a:lnTo>
                  <a:lnTo>
                    <a:pt x="1587" y="394"/>
                  </a:lnTo>
                  <a:lnTo>
                    <a:pt x="1588" y="401"/>
                  </a:lnTo>
                  <a:lnTo>
                    <a:pt x="1587" y="409"/>
                  </a:lnTo>
                  <a:lnTo>
                    <a:pt x="1584" y="420"/>
                  </a:lnTo>
                  <a:lnTo>
                    <a:pt x="1582" y="427"/>
                  </a:lnTo>
                  <a:lnTo>
                    <a:pt x="1581" y="429"/>
                  </a:lnTo>
                  <a:lnTo>
                    <a:pt x="337" y="2076"/>
                  </a:lnTo>
                  <a:lnTo>
                    <a:pt x="337" y="1902"/>
                  </a:lnTo>
                  <a:lnTo>
                    <a:pt x="239" y="1865"/>
                  </a:lnTo>
                  <a:lnTo>
                    <a:pt x="1398" y="308"/>
                  </a:lnTo>
                  <a:close/>
                  <a:moveTo>
                    <a:pt x="475" y="2657"/>
                  </a:moveTo>
                  <a:lnTo>
                    <a:pt x="475" y="2657"/>
                  </a:lnTo>
                  <a:lnTo>
                    <a:pt x="473" y="2660"/>
                  </a:lnTo>
                  <a:lnTo>
                    <a:pt x="469" y="2664"/>
                  </a:lnTo>
                  <a:lnTo>
                    <a:pt x="456" y="2671"/>
                  </a:lnTo>
                  <a:lnTo>
                    <a:pt x="439" y="2680"/>
                  </a:lnTo>
                  <a:lnTo>
                    <a:pt x="417" y="2689"/>
                  </a:lnTo>
                  <a:lnTo>
                    <a:pt x="364" y="2709"/>
                  </a:lnTo>
                  <a:lnTo>
                    <a:pt x="304" y="2729"/>
                  </a:lnTo>
                  <a:lnTo>
                    <a:pt x="244" y="2746"/>
                  </a:lnTo>
                  <a:lnTo>
                    <a:pt x="216" y="2754"/>
                  </a:lnTo>
                  <a:lnTo>
                    <a:pt x="191" y="2760"/>
                  </a:lnTo>
                  <a:lnTo>
                    <a:pt x="169" y="2764"/>
                  </a:lnTo>
                  <a:lnTo>
                    <a:pt x="152" y="2767"/>
                  </a:lnTo>
                  <a:lnTo>
                    <a:pt x="140" y="2767"/>
                  </a:lnTo>
                  <a:lnTo>
                    <a:pt x="135" y="2766"/>
                  </a:lnTo>
                  <a:lnTo>
                    <a:pt x="134" y="2763"/>
                  </a:lnTo>
                  <a:lnTo>
                    <a:pt x="134" y="2763"/>
                  </a:lnTo>
                  <a:lnTo>
                    <a:pt x="130" y="2756"/>
                  </a:lnTo>
                  <a:lnTo>
                    <a:pt x="129" y="2743"/>
                  </a:lnTo>
                  <a:lnTo>
                    <a:pt x="127" y="2723"/>
                  </a:lnTo>
                  <a:lnTo>
                    <a:pt x="127" y="2700"/>
                  </a:lnTo>
                  <a:lnTo>
                    <a:pt x="125" y="2643"/>
                  </a:lnTo>
                  <a:lnTo>
                    <a:pt x="127" y="2581"/>
                  </a:lnTo>
                  <a:lnTo>
                    <a:pt x="129" y="2518"/>
                  </a:lnTo>
                  <a:lnTo>
                    <a:pt x="133" y="2462"/>
                  </a:lnTo>
                  <a:lnTo>
                    <a:pt x="135" y="2440"/>
                  </a:lnTo>
                  <a:lnTo>
                    <a:pt x="137" y="2423"/>
                  </a:lnTo>
                  <a:lnTo>
                    <a:pt x="140" y="2411"/>
                  </a:lnTo>
                  <a:lnTo>
                    <a:pt x="141" y="2407"/>
                  </a:lnTo>
                  <a:lnTo>
                    <a:pt x="142" y="2406"/>
                  </a:lnTo>
                  <a:lnTo>
                    <a:pt x="142" y="2406"/>
                  </a:lnTo>
                  <a:lnTo>
                    <a:pt x="151" y="2404"/>
                  </a:lnTo>
                  <a:lnTo>
                    <a:pt x="159" y="2403"/>
                  </a:lnTo>
                  <a:lnTo>
                    <a:pt x="170" y="2403"/>
                  </a:lnTo>
                  <a:lnTo>
                    <a:pt x="181" y="2404"/>
                  </a:lnTo>
                  <a:lnTo>
                    <a:pt x="193" y="2406"/>
                  </a:lnTo>
                  <a:lnTo>
                    <a:pt x="206" y="2409"/>
                  </a:lnTo>
                  <a:lnTo>
                    <a:pt x="234" y="2418"/>
                  </a:lnTo>
                  <a:lnTo>
                    <a:pt x="263" y="2432"/>
                  </a:lnTo>
                  <a:lnTo>
                    <a:pt x="295" y="2447"/>
                  </a:lnTo>
                  <a:lnTo>
                    <a:pt x="325" y="2466"/>
                  </a:lnTo>
                  <a:lnTo>
                    <a:pt x="355" y="2486"/>
                  </a:lnTo>
                  <a:lnTo>
                    <a:pt x="384" y="2508"/>
                  </a:lnTo>
                  <a:lnTo>
                    <a:pt x="411" y="2531"/>
                  </a:lnTo>
                  <a:lnTo>
                    <a:pt x="435" y="2554"/>
                  </a:lnTo>
                  <a:lnTo>
                    <a:pt x="445" y="2565"/>
                  </a:lnTo>
                  <a:lnTo>
                    <a:pt x="454" y="2577"/>
                  </a:lnTo>
                  <a:lnTo>
                    <a:pt x="462" y="2588"/>
                  </a:lnTo>
                  <a:lnTo>
                    <a:pt x="469" y="2599"/>
                  </a:lnTo>
                  <a:lnTo>
                    <a:pt x="474" y="2610"/>
                  </a:lnTo>
                  <a:lnTo>
                    <a:pt x="477" y="2620"/>
                  </a:lnTo>
                  <a:lnTo>
                    <a:pt x="480" y="2630"/>
                  </a:lnTo>
                  <a:lnTo>
                    <a:pt x="480" y="2640"/>
                  </a:lnTo>
                  <a:lnTo>
                    <a:pt x="479" y="2649"/>
                  </a:lnTo>
                  <a:lnTo>
                    <a:pt x="475" y="2657"/>
                  </a:lnTo>
                  <a:lnTo>
                    <a:pt x="475" y="2657"/>
                  </a:lnTo>
                  <a:close/>
                  <a:moveTo>
                    <a:pt x="490" y="2117"/>
                  </a:moveTo>
                  <a:lnTo>
                    <a:pt x="1692" y="455"/>
                  </a:lnTo>
                  <a:lnTo>
                    <a:pt x="1692" y="455"/>
                  </a:lnTo>
                  <a:lnTo>
                    <a:pt x="1694" y="453"/>
                  </a:lnTo>
                  <a:lnTo>
                    <a:pt x="1699" y="450"/>
                  </a:lnTo>
                  <a:lnTo>
                    <a:pt x="1708" y="446"/>
                  </a:lnTo>
                  <a:lnTo>
                    <a:pt x="1713" y="444"/>
                  </a:lnTo>
                  <a:lnTo>
                    <a:pt x="1720" y="443"/>
                  </a:lnTo>
                  <a:lnTo>
                    <a:pt x="1728" y="443"/>
                  </a:lnTo>
                  <a:lnTo>
                    <a:pt x="1737" y="444"/>
                  </a:lnTo>
                  <a:lnTo>
                    <a:pt x="1748" y="445"/>
                  </a:lnTo>
                  <a:lnTo>
                    <a:pt x="1760" y="449"/>
                  </a:lnTo>
                  <a:lnTo>
                    <a:pt x="1773" y="452"/>
                  </a:lnTo>
                  <a:lnTo>
                    <a:pt x="1788" y="460"/>
                  </a:lnTo>
                  <a:lnTo>
                    <a:pt x="1803" y="468"/>
                  </a:lnTo>
                  <a:lnTo>
                    <a:pt x="1821" y="478"/>
                  </a:lnTo>
                  <a:lnTo>
                    <a:pt x="1821" y="478"/>
                  </a:lnTo>
                  <a:lnTo>
                    <a:pt x="1836" y="489"/>
                  </a:lnTo>
                  <a:lnTo>
                    <a:pt x="1849" y="499"/>
                  </a:lnTo>
                  <a:lnTo>
                    <a:pt x="1859" y="509"/>
                  </a:lnTo>
                  <a:lnTo>
                    <a:pt x="1867" y="520"/>
                  </a:lnTo>
                  <a:lnTo>
                    <a:pt x="1875" y="530"/>
                  </a:lnTo>
                  <a:lnTo>
                    <a:pt x="1880" y="539"/>
                  </a:lnTo>
                  <a:lnTo>
                    <a:pt x="1883" y="549"/>
                  </a:lnTo>
                  <a:lnTo>
                    <a:pt x="1887" y="558"/>
                  </a:lnTo>
                  <a:lnTo>
                    <a:pt x="1888" y="565"/>
                  </a:lnTo>
                  <a:lnTo>
                    <a:pt x="1888" y="572"/>
                  </a:lnTo>
                  <a:lnTo>
                    <a:pt x="1888" y="584"/>
                  </a:lnTo>
                  <a:lnTo>
                    <a:pt x="1887" y="591"/>
                  </a:lnTo>
                  <a:lnTo>
                    <a:pt x="1886" y="594"/>
                  </a:lnTo>
                  <a:lnTo>
                    <a:pt x="624" y="2291"/>
                  </a:lnTo>
                  <a:lnTo>
                    <a:pt x="624" y="2094"/>
                  </a:lnTo>
                  <a:lnTo>
                    <a:pt x="490" y="2117"/>
                  </a:lnTo>
                  <a:close/>
                  <a:moveTo>
                    <a:pt x="2117" y="835"/>
                  </a:moveTo>
                  <a:lnTo>
                    <a:pt x="937" y="2462"/>
                  </a:lnTo>
                  <a:lnTo>
                    <a:pt x="902" y="2386"/>
                  </a:lnTo>
                  <a:lnTo>
                    <a:pt x="750" y="2359"/>
                  </a:lnTo>
                  <a:lnTo>
                    <a:pt x="1973" y="677"/>
                  </a:lnTo>
                  <a:lnTo>
                    <a:pt x="1973" y="677"/>
                  </a:lnTo>
                  <a:lnTo>
                    <a:pt x="1975" y="676"/>
                  </a:lnTo>
                  <a:lnTo>
                    <a:pt x="1979" y="672"/>
                  </a:lnTo>
                  <a:lnTo>
                    <a:pt x="1987" y="669"/>
                  </a:lnTo>
                  <a:lnTo>
                    <a:pt x="1992" y="669"/>
                  </a:lnTo>
                  <a:lnTo>
                    <a:pt x="1998" y="668"/>
                  </a:lnTo>
                  <a:lnTo>
                    <a:pt x="2005" y="669"/>
                  </a:lnTo>
                  <a:lnTo>
                    <a:pt x="2014" y="670"/>
                  </a:lnTo>
                  <a:lnTo>
                    <a:pt x="2022" y="674"/>
                  </a:lnTo>
                  <a:lnTo>
                    <a:pt x="2032" y="679"/>
                  </a:lnTo>
                  <a:lnTo>
                    <a:pt x="2043" y="685"/>
                  </a:lnTo>
                  <a:lnTo>
                    <a:pt x="2055" y="693"/>
                  </a:lnTo>
                  <a:lnTo>
                    <a:pt x="2067" y="704"/>
                  </a:lnTo>
                  <a:lnTo>
                    <a:pt x="2080" y="718"/>
                  </a:lnTo>
                  <a:lnTo>
                    <a:pt x="2080" y="718"/>
                  </a:lnTo>
                  <a:lnTo>
                    <a:pt x="2091" y="731"/>
                  </a:lnTo>
                  <a:lnTo>
                    <a:pt x="2101" y="741"/>
                  </a:lnTo>
                  <a:lnTo>
                    <a:pt x="2108" y="754"/>
                  </a:lnTo>
                  <a:lnTo>
                    <a:pt x="2113" y="764"/>
                  </a:lnTo>
                  <a:lnTo>
                    <a:pt x="2118" y="774"/>
                  </a:lnTo>
                  <a:lnTo>
                    <a:pt x="2120" y="784"/>
                  </a:lnTo>
                  <a:lnTo>
                    <a:pt x="2121" y="793"/>
                  </a:lnTo>
                  <a:lnTo>
                    <a:pt x="2123" y="801"/>
                  </a:lnTo>
                  <a:lnTo>
                    <a:pt x="2121" y="815"/>
                  </a:lnTo>
                  <a:lnTo>
                    <a:pt x="2120" y="826"/>
                  </a:lnTo>
                  <a:lnTo>
                    <a:pt x="2118" y="832"/>
                  </a:lnTo>
                  <a:lnTo>
                    <a:pt x="2117" y="835"/>
                  </a:lnTo>
                  <a:lnTo>
                    <a:pt x="2117" y="83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7" name="Group 9"/>
          <p:cNvGrpSpPr/>
          <p:nvPr/>
        </p:nvGrpSpPr>
        <p:grpSpPr>
          <a:xfrm>
            <a:off x="7778684" y="2188315"/>
            <a:ext cx="1383914" cy="1075437"/>
            <a:chOff x="4929090" y="2803881"/>
            <a:chExt cx="3266866" cy="2538675"/>
          </a:xfr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grpSpPr>
        <p:grpSp>
          <p:nvGrpSpPr>
            <p:cNvPr id="18" name="Group 46"/>
            <p:cNvGrpSpPr/>
            <p:nvPr/>
          </p:nvGrpSpPr>
          <p:grpSpPr>
            <a:xfrm rot="1365204">
              <a:off x="4929090" y="2838670"/>
              <a:ext cx="3266866" cy="2503886"/>
              <a:chOff x="625475" y="2439988"/>
              <a:chExt cx="482600" cy="369888"/>
            </a:xfrm>
            <a:solidFill>
              <a:srgbClr val="0D65AC"/>
            </a:solidFill>
            <a:effectLst/>
          </p:grpSpPr>
          <p:sp>
            <p:nvSpPr>
              <p:cNvPr id="20" name="Freeform 168"/>
              <p:cNvSpPr>
                <a:spLocks noEditPoints="1"/>
              </p:cNvSpPr>
              <p:nvPr/>
            </p:nvSpPr>
            <p:spPr bwMode="auto">
              <a:xfrm>
                <a:off x="625475" y="2439988"/>
                <a:ext cx="482600" cy="369888"/>
              </a:xfrm>
              <a:custGeom>
                <a:avLst/>
                <a:gdLst>
                  <a:gd name="T0" fmla="*/ 566 w 1519"/>
                  <a:gd name="T1" fmla="*/ 10 h 1165"/>
                  <a:gd name="T2" fmla="*/ 675 w 1519"/>
                  <a:gd name="T3" fmla="*/ 46 h 1165"/>
                  <a:gd name="T4" fmla="*/ 770 w 1519"/>
                  <a:gd name="T5" fmla="*/ 107 h 1165"/>
                  <a:gd name="T6" fmla="*/ 848 w 1519"/>
                  <a:gd name="T7" fmla="*/ 189 h 1165"/>
                  <a:gd name="T8" fmla="*/ 904 w 1519"/>
                  <a:gd name="T9" fmla="*/ 288 h 1165"/>
                  <a:gd name="T10" fmla="*/ 936 w 1519"/>
                  <a:gd name="T11" fmla="*/ 399 h 1165"/>
                  <a:gd name="T12" fmla="*/ 938 w 1519"/>
                  <a:gd name="T13" fmla="*/ 520 h 1165"/>
                  <a:gd name="T14" fmla="*/ 912 w 1519"/>
                  <a:gd name="T15" fmla="*/ 635 h 1165"/>
                  <a:gd name="T16" fmla="*/ 1503 w 1519"/>
                  <a:gd name="T17" fmla="*/ 1047 h 1165"/>
                  <a:gd name="T18" fmla="*/ 1518 w 1519"/>
                  <a:gd name="T19" fmla="*/ 1078 h 1165"/>
                  <a:gd name="T20" fmla="*/ 1517 w 1519"/>
                  <a:gd name="T21" fmla="*/ 1113 h 1165"/>
                  <a:gd name="T22" fmla="*/ 1498 w 1519"/>
                  <a:gd name="T23" fmla="*/ 1143 h 1165"/>
                  <a:gd name="T24" fmla="*/ 1469 w 1519"/>
                  <a:gd name="T25" fmla="*/ 1161 h 1165"/>
                  <a:gd name="T26" fmla="*/ 1435 w 1519"/>
                  <a:gd name="T27" fmla="*/ 1163 h 1165"/>
                  <a:gd name="T28" fmla="*/ 828 w 1519"/>
                  <a:gd name="T29" fmla="*/ 778 h 1165"/>
                  <a:gd name="T30" fmla="*/ 735 w 1519"/>
                  <a:gd name="T31" fmla="*/ 860 h 1165"/>
                  <a:gd name="T32" fmla="*/ 623 w 1519"/>
                  <a:gd name="T33" fmla="*/ 916 h 1165"/>
                  <a:gd name="T34" fmla="*/ 497 w 1519"/>
                  <a:gd name="T35" fmla="*/ 941 h 1165"/>
                  <a:gd name="T36" fmla="*/ 376 w 1519"/>
                  <a:gd name="T37" fmla="*/ 932 h 1165"/>
                  <a:gd name="T38" fmla="*/ 266 w 1519"/>
                  <a:gd name="T39" fmla="*/ 895 h 1165"/>
                  <a:gd name="T40" fmla="*/ 172 w 1519"/>
                  <a:gd name="T41" fmla="*/ 834 h 1165"/>
                  <a:gd name="T42" fmla="*/ 94 w 1519"/>
                  <a:gd name="T43" fmla="*/ 752 h 1165"/>
                  <a:gd name="T44" fmla="*/ 37 w 1519"/>
                  <a:gd name="T45" fmla="*/ 654 h 1165"/>
                  <a:gd name="T46" fmla="*/ 6 w 1519"/>
                  <a:gd name="T47" fmla="*/ 542 h 1165"/>
                  <a:gd name="T48" fmla="*/ 3 w 1519"/>
                  <a:gd name="T49" fmla="*/ 423 h 1165"/>
                  <a:gd name="T50" fmla="*/ 29 w 1519"/>
                  <a:gd name="T51" fmla="*/ 308 h 1165"/>
                  <a:gd name="T52" fmla="*/ 81 w 1519"/>
                  <a:gd name="T53" fmla="*/ 208 h 1165"/>
                  <a:gd name="T54" fmla="*/ 155 w 1519"/>
                  <a:gd name="T55" fmla="*/ 122 h 1165"/>
                  <a:gd name="T56" fmla="*/ 246 w 1519"/>
                  <a:gd name="T57" fmla="*/ 57 h 1165"/>
                  <a:gd name="T58" fmla="*/ 353 w 1519"/>
                  <a:gd name="T59" fmla="*/ 15 h 1165"/>
                  <a:gd name="T60" fmla="*/ 471 w 1519"/>
                  <a:gd name="T61" fmla="*/ 0 h 1165"/>
                  <a:gd name="T62" fmla="*/ 543 w 1519"/>
                  <a:gd name="T63" fmla="*/ 119 h 1165"/>
                  <a:gd name="T64" fmla="*/ 627 w 1519"/>
                  <a:gd name="T65" fmla="*/ 147 h 1165"/>
                  <a:gd name="T66" fmla="*/ 699 w 1519"/>
                  <a:gd name="T67" fmla="*/ 194 h 1165"/>
                  <a:gd name="T68" fmla="*/ 759 w 1519"/>
                  <a:gd name="T69" fmla="*/ 256 h 1165"/>
                  <a:gd name="T70" fmla="*/ 802 w 1519"/>
                  <a:gd name="T71" fmla="*/ 331 h 1165"/>
                  <a:gd name="T72" fmla="*/ 825 w 1519"/>
                  <a:gd name="T73" fmla="*/ 416 h 1165"/>
                  <a:gd name="T74" fmla="*/ 828 w 1519"/>
                  <a:gd name="T75" fmla="*/ 507 h 1165"/>
                  <a:gd name="T76" fmla="*/ 807 w 1519"/>
                  <a:gd name="T77" fmla="*/ 594 h 1165"/>
                  <a:gd name="T78" fmla="*/ 768 w 1519"/>
                  <a:gd name="T79" fmla="*/ 671 h 1165"/>
                  <a:gd name="T80" fmla="*/ 713 w 1519"/>
                  <a:gd name="T81" fmla="*/ 736 h 1165"/>
                  <a:gd name="T82" fmla="*/ 641 w 1519"/>
                  <a:gd name="T83" fmla="*/ 786 h 1165"/>
                  <a:gd name="T84" fmla="*/ 560 w 1519"/>
                  <a:gd name="T85" fmla="*/ 818 h 1165"/>
                  <a:gd name="T86" fmla="*/ 471 w 1519"/>
                  <a:gd name="T87" fmla="*/ 829 h 1165"/>
                  <a:gd name="T88" fmla="*/ 382 w 1519"/>
                  <a:gd name="T89" fmla="*/ 818 h 1165"/>
                  <a:gd name="T90" fmla="*/ 300 w 1519"/>
                  <a:gd name="T91" fmla="*/ 786 h 1165"/>
                  <a:gd name="T92" fmla="*/ 229 w 1519"/>
                  <a:gd name="T93" fmla="*/ 736 h 1165"/>
                  <a:gd name="T94" fmla="*/ 174 w 1519"/>
                  <a:gd name="T95" fmla="*/ 671 h 1165"/>
                  <a:gd name="T96" fmla="*/ 134 w 1519"/>
                  <a:gd name="T97" fmla="*/ 594 h 1165"/>
                  <a:gd name="T98" fmla="*/ 114 w 1519"/>
                  <a:gd name="T99" fmla="*/ 507 h 1165"/>
                  <a:gd name="T100" fmla="*/ 116 w 1519"/>
                  <a:gd name="T101" fmla="*/ 416 h 1165"/>
                  <a:gd name="T102" fmla="*/ 140 w 1519"/>
                  <a:gd name="T103" fmla="*/ 331 h 1165"/>
                  <a:gd name="T104" fmla="*/ 183 w 1519"/>
                  <a:gd name="T105" fmla="*/ 256 h 1165"/>
                  <a:gd name="T106" fmla="*/ 243 w 1519"/>
                  <a:gd name="T107" fmla="*/ 194 h 1165"/>
                  <a:gd name="T108" fmla="*/ 315 w 1519"/>
                  <a:gd name="T109" fmla="*/ 147 h 1165"/>
                  <a:gd name="T110" fmla="*/ 399 w 1519"/>
                  <a:gd name="T111" fmla="*/ 119 h 1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519" h="1165">
                    <a:moveTo>
                      <a:pt x="471" y="0"/>
                    </a:moveTo>
                    <a:lnTo>
                      <a:pt x="495" y="1"/>
                    </a:lnTo>
                    <a:lnTo>
                      <a:pt x="519" y="2"/>
                    </a:lnTo>
                    <a:lnTo>
                      <a:pt x="542" y="6"/>
                    </a:lnTo>
                    <a:lnTo>
                      <a:pt x="566" y="10"/>
                    </a:lnTo>
                    <a:lnTo>
                      <a:pt x="588" y="15"/>
                    </a:lnTo>
                    <a:lnTo>
                      <a:pt x="611" y="22"/>
                    </a:lnTo>
                    <a:lnTo>
                      <a:pt x="632" y="28"/>
                    </a:lnTo>
                    <a:lnTo>
                      <a:pt x="654" y="37"/>
                    </a:lnTo>
                    <a:lnTo>
                      <a:pt x="675" y="46"/>
                    </a:lnTo>
                    <a:lnTo>
                      <a:pt x="696" y="57"/>
                    </a:lnTo>
                    <a:lnTo>
                      <a:pt x="715" y="68"/>
                    </a:lnTo>
                    <a:lnTo>
                      <a:pt x="734" y="80"/>
                    </a:lnTo>
                    <a:lnTo>
                      <a:pt x="752" y="94"/>
                    </a:lnTo>
                    <a:lnTo>
                      <a:pt x="770" y="107"/>
                    </a:lnTo>
                    <a:lnTo>
                      <a:pt x="787" y="122"/>
                    </a:lnTo>
                    <a:lnTo>
                      <a:pt x="804" y="138"/>
                    </a:lnTo>
                    <a:lnTo>
                      <a:pt x="819" y="155"/>
                    </a:lnTo>
                    <a:lnTo>
                      <a:pt x="833" y="172"/>
                    </a:lnTo>
                    <a:lnTo>
                      <a:pt x="848" y="189"/>
                    </a:lnTo>
                    <a:lnTo>
                      <a:pt x="860" y="208"/>
                    </a:lnTo>
                    <a:lnTo>
                      <a:pt x="873" y="227"/>
                    </a:lnTo>
                    <a:lnTo>
                      <a:pt x="884" y="246"/>
                    </a:lnTo>
                    <a:lnTo>
                      <a:pt x="895" y="267"/>
                    </a:lnTo>
                    <a:lnTo>
                      <a:pt x="904" y="288"/>
                    </a:lnTo>
                    <a:lnTo>
                      <a:pt x="912" y="308"/>
                    </a:lnTo>
                    <a:lnTo>
                      <a:pt x="920" y="331"/>
                    </a:lnTo>
                    <a:lnTo>
                      <a:pt x="926" y="354"/>
                    </a:lnTo>
                    <a:lnTo>
                      <a:pt x="932" y="376"/>
                    </a:lnTo>
                    <a:lnTo>
                      <a:pt x="936" y="399"/>
                    </a:lnTo>
                    <a:lnTo>
                      <a:pt x="938" y="423"/>
                    </a:lnTo>
                    <a:lnTo>
                      <a:pt x="941" y="446"/>
                    </a:lnTo>
                    <a:lnTo>
                      <a:pt x="942" y="471"/>
                    </a:lnTo>
                    <a:lnTo>
                      <a:pt x="941" y="495"/>
                    </a:lnTo>
                    <a:lnTo>
                      <a:pt x="938" y="520"/>
                    </a:lnTo>
                    <a:lnTo>
                      <a:pt x="936" y="543"/>
                    </a:lnTo>
                    <a:lnTo>
                      <a:pt x="932" y="567"/>
                    </a:lnTo>
                    <a:lnTo>
                      <a:pt x="926" y="590"/>
                    </a:lnTo>
                    <a:lnTo>
                      <a:pt x="919" y="612"/>
                    </a:lnTo>
                    <a:lnTo>
                      <a:pt x="912" y="635"/>
                    </a:lnTo>
                    <a:lnTo>
                      <a:pt x="903" y="656"/>
                    </a:lnTo>
                    <a:lnTo>
                      <a:pt x="1486" y="1032"/>
                    </a:lnTo>
                    <a:lnTo>
                      <a:pt x="1492" y="1037"/>
                    </a:lnTo>
                    <a:lnTo>
                      <a:pt x="1497" y="1041"/>
                    </a:lnTo>
                    <a:lnTo>
                      <a:pt x="1503" y="1047"/>
                    </a:lnTo>
                    <a:lnTo>
                      <a:pt x="1506" y="1053"/>
                    </a:lnTo>
                    <a:lnTo>
                      <a:pt x="1511" y="1058"/>
                    </a:lnTo>
                    <a:lnTo>
                      <a:pt x="1513" y="1065"/>
                    </a:lnTo>
                    <a:lnTo>
                      <a:pt x="1515" y="1071"/>
                    </a:lnTo>
                    <a:lnTo>
                      <a:pt x="1518" y="1078"/>
                    </a:lnTo>
                    <a:lnTo>
                      <a:pt x="1519" y="1084"/>
                    </a:lnTo>
                    <a:lnTo>
                      <a:pt x="1519" y="1091"/>
                    </a:lnTo>
                    <a:lnTo>
                      <a:pt x="1519" y="1098"/>
                    </a:lnTo>
                    <a:lnTo>
                      <a:pt x="1518" y="1105"/>
                    </a:lnTo>
                    <a:lnTo>
                      <a:pt x="1517" y="1113"/>
                    </a:lnTo>
                    <a:lnTo>
                      <a:pt x="1514" y="1118"/>
                    </a:lnTo>
                    <a:lnTo>
                      <a:pt x="1512" y="1125"/>
                    </a:lnTo>
                    <a:lnTo>
                      <a:pt x="1507" y="1132"/>
                    </a:lnTo>
                    <a:lnTo>
                      <a:pt x="1504" y="1137"/>
                    </a:lnTo>
                    <a:lnTo>
                      <a:pt x="1498" y="1143"/>
                    </a:lnTo>
                    <a:lnTo>
                      <a:pt x="1494" y="1148"/>
                    </a:lnTo>
                    <a:lnTo>
                      <a:pt x="1488" y="1152"/>
                    </a:lnTo>
                    <a:lnTo>
                      <a:pt x="1483" y="1155"/>
                    </a:lnTo>
                    <a:lnTo>
                      <a:pt x="1476" y="1159"/>
                    </a:lnTo>
                    <a:lnTo>
                      <a:pt x="1469" y="1161"/>
                    </a:lnTo>
                    <a:lnTo>
                      <a:pt x="1462" y="1163"/>
                    </a:lnTo>
                    <a:lnTo>
                      <a:pt x="1456" y="1165"/>
                    </a:lnTo>
                    <a:lnTo>
                      <a:pt x="1449" y="1165"/>
                    </a:lnTo>
                    <a:lnTo>
                      <a:pt x="1442" y="1165"/>
                    </a:lnTo>
                    <a:lnTo>
                      <a:pt x="1435" y="1163"/>
                    </a:lnTo>
                    <a:lnTo>
                      <a:pt x="1428" y="1162"/>
                    </a:lnTo>
                    <a:lnTo>
                      <a:pt x="1422" y="1160"/>
                    </a:lnTo>
                    <a:lnTo>
                      <a:pt x="1415" y="1157"/>
                    </a:lnTo>
                    <a:lnTo>
                      <a:pt x="1409" y="1153"/>
                    </a:lnTo>
                    <a:lnTo>
                      <a:pt x="828" y="778"/>
                    </a:lnTo>
                    <a:lnTo>
                      <a:pt x="811" y="796"/>
                    </a:lnTo>
                    <a:lnTo>
                      <a:pt x="793" y="813"/>
                    </a:lnTo>
                    <a:lnTo>
                      <a:pt x="775" y="830"/>
                    </a:lnTo>
                    <a:lnTo>
                      <a:pt x="755" y="846"/>
                    </a:lnTo>
                    <a:lnTo>
                      <a:pt x="735" y="860"/>
                    </a:lnTo>
                    <a:lnTo>
                      <a:pt x="714" y="873"/>
                    </a:lnTo>
                    <a:lnTo>
                      <a:pt x="692" y="886"/>
                    </a:lnTo>
                    <a:lnTo>
                      <a:pt x="670" y="897"/>
                    </a:lnTo>
                    <a:lnTo>
                      <a:pt x="647" y="907"/>
                    </a:lnTo>
                    <a:lnTo>
                      <a:pt x="623" y="916"/>
                    </a:lnTo>
                    <a:lnTo>
                      <a:pt x="600" y="924"/>
                    </a:lnTo>
                    <a:lnTo>
                      <a:pt x="575" y="930"/>
                    </a:lnTo>
                    <a:lnTo>
                      <a:pt x="549" y="935"/>
                    </a:lnTo>
                    <a:lnTo>
                      <a:pt x="524" y="939"/>
                    </a:lnTo>
                    <a:lnTo>
                      <a:pt x="497" y="941"/>
                    </a:lnTo>
                    <a:lnTo>
                      <a:pt x="471" y="941"/>
                    </a:lnTo>
                    <a:lnTo>
                      <a:pt x="447" y="941"/>
                    </a:lnTo>
                    <a:lnTo>
                      <a:pt x="422" y="939"/>
                    </a:lnTo>
                    <a:lnTo>
                      <a:pt x="400" y="935"/>
                    </a:lnTo>
                    <a:lnTo>
                      <a:pt x="376" y="932"/>
                    </a:lnTo>
                    <a:lnTo>
                      <a:pt x="353" y="926"/>
                    </a:lnTo>
                    <a:lnTo>
                      <a:pt x="331" y="921"/>
                    </a:lnTo>
                    <a:lnTo>
                      <a:pt x="309" y="913"/>
                    </a:lnTo>
                    <a:lnTo>
                      <a:pt x="288" y="905"/>
                    </a:lnTo>
                    <a:lnTo>
                      <a:pt x="266" y="895"/>
                    </a:lnTo>
                    <a:lnTo>
                      <a:pt x="246" y="884"/>
                    </a:lnTo>
                    <a:lnTo>
                      <a:pt x="227" y="873"/>
                    </a:lnTo>
                    <a:lnTo>
                      <a:pt x="208" y="861"/>
                    </a:lnTo>
                    <a:lnTo>
                      <a:pt x="190" y="848"/>
                    </a:lnTo>
                    <a:lnTo>
                      <a:pt x="172" y="834"/>
                    </a:lnTo>
                    <a:lnTo>
                      <a:pt x="155" y="819"/>
                    </a:lnTo>
                    <a:lnTo>
                      <a:pt x="138" y="803"/>
                    </a:lnTo>
                    <a:lnTo>
                      <a:pt x="123" y="787"/>
                    </a:lnTo>
                    <a:lnTo>
                      <a:pt x="108" y="770"/>
                    </a:lnTo>
                    <a:lnTo>
                      <a:pt x="94" y="752"/>
                    </a:lnTo>
                    <a:lnTo>
                      <a:pt x="81" y="734"/>
                    </a:lnTo>
                    <a:lnTo>
                      <a:pt x="69" y="715"/>
                    </a:lnTo>
                    <a:lnTo>
                      <a:pt x="58" y="695"/>
                    </a:lnTo>
                    <a:lnTo>
                      <a:pt x="46" y="674"/>
                    </a:lnTo>
                    <a:lnTo>
                      <a:pt x="37" y="654"/>
                    </a:lnTo>
                    <a:lnTo>
                      <a:pt x="29" y="633"/>
                    </a:lnTo>
                    <a:lnTo>
                      <a:pt x="21" y="611"/>
                    </a:lnTo>
                    <a:lnTo>
                      <a:pt x="16" y="589"/>
                    </a:lnTo>
                    <a:lnTo>
                      <a:pt x="10" y="566"/>
                    </a:lnTo>
                    <a:lnTo>
                      <a:pt x="6" y="542"/>
                    </a:lnTo>
                    <a:lnTo>
                      <a:pt x="3" y="519"/>
                    </a:lnTo>
                    <a:lnTo>
                      <a:pt x="1" y="495"/>
                    </a:lnTo>
                    <a:lnTo>
                      <a:pt x="0" y="471"/>
                    </a:lnTo>
                    <a:lnTo>
                      <a:pt x="1" y="446"/>
                    </a:lnTo>
                    <a:lnTo>
                      <a:pt x="3" y="423"/>
                    </a:lnTo>
                    <a:lnTo>
                      <a:pt x="6" y="399"/>
                    </a:lnTo>
                    <a:lnTo>
                      <a:pt x="10" y="376"/>
                    </a:lnTo>
                    <a:lnTo>
                      <a:pt x="16" y="354"/>
                    </a:lnTo>
                    <a:lnTo>
                      <a:pt x="21" y="331"/>
                    </a:lnTo>
                    <a:lnTo>
                      <a:pt x="29" y="308"/>
                    </a:lnTo>
                    <a:lnTo>
                      <a:pt x="37" y="288"/>
                    </a:lnTo>
                    <a:lnTo>
                      <a:pt x="46" y="267"/>
                    </a:lnTo>
                    <a:lnTo>
                      <a:pt x="58" y="246"/>
                    </a:lnTo>
                    <a:lnTo>
                      <a:pt x="69" y="227"/>
                    </a:lnTo>
                    <a:lnTo>
                      <a:pt x="81" y="208"/>
                    </a:lnTo>
                    <a:lnTo>
                      <a:pt x="94" y="189"/>
                    </a:lnTo>
                    <a:lnTo>
                      <a:pt x="108" y="172"/>
                    </a:lnTo>
                    <a:lnTo>
                      <a:pt x="123" y="155"/>
                    </a:lnTo>
                    <a:lnTo>
                      <a:pt x="138" y="138"/>
                    </a:lnTo>
                    <a:lnTo>
                      <a:pt x="155" y="122"/>
                    </a:lnTo>
                    <a:lnTo>
                      <a:pt x="172" y="107"/>
                    </a:lnTo>
                    <a:lnTo>
                      <a:pt x="190" y="94"/>
                    </a:lnTo>
                    <a:lnTo>
                      <a:pt x="208" y="80"/>
                    </a:lnTo>
                    <a:lnTo>
                      <a:pt x="227" y="68"/>
                    </a:lnTo>
                    <a:lnTo>
                      <a:pt x="246" y="57"/>
                    </a:lnTo>
                    <a:lnTo>
                      <a:pt x="266" y="46"/>
                    </a:lnTo>
                    <a:lnTo>
                      <a:pt x="288" y="37"/>
                    </a:lnTo>
                    <a:lnTo>
                      <a:pt x="309" y="28"/>
                    </a:lnTo>
                    <a:lnTo>
                      <a:pt x="331" y="22"/>
                    </a:lnTo>
                    <a:lnTo>
                      <a:pt x="353" y="15"/>
                    </a:lnTo>
                    <a:lnTo>
                      <a:pt x="376" y="10"/>
                    </a:lnTo>
                    <a:lnTo>
                      <a:pt x="400" y="6"/>
                    </a:lnTo>
                    <a:lnTo>
                      <a:pt x="422" y="2"/>
                    </a:lnTo>
                    <a:lnTo>
                      <a:pt x="447" y="1"/>
                    </a:lnTo>
                    <a:lnTo>
                      <a:pt x="471" y="0"/>
                    </a:lnTo>
                    <a:close/>
                    <a:moveTo>
                      <a:pt x="471" y="112"/>
                    </a:moveTo>
                    <a:lnTo>
                      <a:pt x="489" y="112"/>
                    </a:lnTo>
                    <a:lnTo>
                      <a:pt x="507" y="114"/>
                    </a:lnTo>
                    <a:lnTo>
                      <a:pt x="525" y="116"/>
                    </a:lnTo>
                    <a:lnTo>
                      <a:pt x="543" y="119"/>
                    </a:lnTo>
                    <a:lnTo>
                      <a:pt x="560" y="123"/>
                    </a:lnTo>
                    <a:lnTo>
                      <a:pt x="577" y="128"/>
                    </a:lnTo>
                    <a:lnTo>
                      <a:pt x="594" y="133"/>
                    </a:lnTo>
                    <a:lnTo>
                      <a:pt x="611" y="140"/>
                    </a:lnTo>
                    <a:lnTo>
                      <a:pt x="627" y="147"/>
                    </a:lnTo>
                    <a:lnTo>
                      <a:pt x="641" y="155"/>
                    </a:lnTo>
                    <a:lnTo>
                      <a:pt x="657" y="164"/>
                    </a:lnTo>
                    <a:lnTo>
                      <a:pt x="672" y="173"/>
                    </a:lnTo>
                    <a:lnTo>
                      <a:pt x="685" y="183"/>
                    </a:lnTo>
                    <a:lnTo>
                      <a:pt x="699" y="194"/>
                    </a:lnTo>
                    <a:lnTo>
                      <a:pt x="713" y="206"/>
                    </a:lnTo>
                    <a:lnTo>
                      <a:pt x="725" y="217"/>
                    </a:lnTo>
                    <a:lnTo>
                      <a:pt x="736" y="229"/>
                    </a:lnTo>
                    <a:lnTo>
                      <a:pt x="748" y="243"/>
                    </a:lnTo>
                    <a:lnTo>
                      <a:pt x="759" y="256"/>
                    </a:lnTo>
                    <a:lnTo>
                      <a:pt x="768" y="270"/>
                    </a:lnTo>
                    <a:lnTo>
                      <a:pt x="778" y="285"/>
                    </a:lnTo>
                    <a:lnTo>
                      <a:pt x="786" y="299"/>
                    </a:lnTo>
                    <a:lnTo>
                      <a:pt x="794" y="315"/>
                    </a:lnTo>
                    <a:lnTo>
                      <a:pt x="802" y="331"/>
                    </a:lnTo>
                    <a:lnTo>
                      <a:pt x="807" y="347"/>
                    </a:lnTo>
                    <a:lnTo>
                      <a:pt x="813" y="364"/>
                    </a:lnTo>
                    <a:lnTo>
                      <a:pt x="819" y="381"/>
                    </a:lnTo>
                    <a:lnTo>
                      <a:pt x="822" y="399"/>
                    </a:lnTo>
                    <a:lnTo>
                      <a:pt x="825" y="416"/>
                    </a:lnTo>
                    <a:lnTo>
                      <a:pt x="828" y="434"/>
                    </a:lnTo>
                    <a:lnTo>
                      <a:pt x="829" y="452"/>
                    </a:lnTo>
                    <a:lnTo>
                      <a:pt x="830" y="471"/>
                    </a:lnTo>
                    <a:lnTo>
                      <a:pt x="829" y="489"/>
                    </a:lnTo>
                    <a:lnTo>
                      <a:pt x="828" y="507"/>
                    </a:lnTo>
                    <a:lnTo>
                      <a:pt x="825" y="525"/>
                    </a:lnTo>
                    <a:lnTo>
                      <a:pt x="822" y="543"/>
                    </a:lnTo>
                    <a:lnTo>
                      <a:pt x="819" y="560"/>
                    </a:lnTo>
                    <a:lnTo>
                      <a:pt x="813" y="577"/>
                    </a:lnTo>
                    <a:lnTo>
                      <a:pt x="807" y="594"/>
                    </a:lnTo>
                    <a:lnTo>
                      <a:pt x="802" y="610"/>
                    </a:lnTo>
                    <a:lnTo>
                      <a:pt x="794" y="626"/>
                    </a:lnTo>
                    <a:lnTo>
                      <a:pt x="786" y="642"/>
                    </a:lnTo>
                    <a:lnTo>
                      <a:pt x="778" y="656"/>
                    </a:lnTo>
                    <a:lnTo>
                      <a:pt x="768" y="671"/>
                    </a:lnTo>
                    <a:lnTo>
                      <a:pt x="759" y="686"/>
                    </a:lnTo>
                    <a:lnTo>
                      <a:pt x="748" y="699"/>
                    </a:lnTo>
                    <a:lnTo>
                      <a:pt x="736" y="712"/>
                    </a:lnTo>
                    <a:lnTo>
                      <a:pt x="725" y="724"/>
                    </a:lnTo>
                    <a:lnTo>
                      <a:pt x="713" y="736"/>
                    </a:lnTo>
                    <a:lnTo>
                      <a:pt x="699" y="748"/>
                    </a:lnTo>
                    <a:lnTo>
                      <a:pt x="685" y="758"/>
                    </a:lnTo>
                    <a:lnTo>
                      <a:pt x="672" y="768"/>
                    </a:lnTo>
                    <a:lnTo>
                      <a:pt x="657" y="777"/>
                    </a:lnTo>
                    <a:lnTo>
                      <a:pt x="641" y="786"/>
                    </a:lnTo>
                    <a:lnTo>
                      <a:pt x="627" y="794"/>
                    </a:lnTo>
                    <a:lnTo>
                      <a:pt x="611" y="801"/>
                    </a:lnTo>
                    <a:lnTo>
                      <a:pt x="594" y="808"/>
                    </a:lnTo>
                    <a:lnTo>
                      <a:pt x="577" y="813"/>
                    </a:lnTo>
                    <a:lnTo>
                      <a:pt x="560" y="818"/>
                    </a:lnTo>
                    <a:lnTo>
                      <a:pt x="543" y="822"/>
                    </a:lnTo>
                    <a:lnTo>
                      <a:pt x="525" y="826"/>
                    </a:lnTo>
                    <a:lnTo>
                      <a:pt x="507" y="828"/>
                    </a:lnTo>
                    <a:lnTo>
                      <a:pt x="489" y="829"/>
                    </a:lnTo>
                    <a:lnTo>
                      <a:pt x="471" y="829"/>
                    </a:lnTo>
                    <a:lnTo>
                      <a:pt x="453" y="829"/>
                    </a:lnTo>
                    <a:lnTo>
                      <a:pt x="434" y="828"/>
                    </a:lnTo>
                    <a:lnTo>
                      <a:pt x="417" y="826"/>
                    </a:lnTo>
                    <a:lnTo>
                      <a:pt x="399" y="822"/>
                    </a:lnTo>
                    <a:lnTo>
                      <a:pt x="382" y="818"/>
                    </a:lnTo>
                    <a:lnTo>
                      <a:pt x="365" y="813"/>
                    </a:lnTo>
                    <a:lnTo>
                      <a:pt x="348" y="808"/>
                    </a:lnTo>
                    <a:lnTo>
                      <a:pt x="331" y="801"/>
                    </a:lnTo>
                    <a:lnTo>
                      <a:pt x="315" y="794"/>
                    </a:lnTo>
                    <a:lnTo>
                      <a:pt x="300" y="786"/>
                    </a:lnTo>
                    <a:lnTo>
                      <a:pt x="285" y="777"/>
                    </a:lnTo>
                    <a:lnTo>
                      <a:pt x="270" y="768"/>
                    </a:lnTo>
                    <a:lnTo>
                      <a:pt x="256" y="758"/>
                    </a:lnTo>
                    <a:lnTo>
                      <a:pt x="243" y="748"/>
                    </a:lnTo>
                    <a:lnTo>
                      <a:pt x="229" y="736"/>
                    </a:lnTo>
                    <a:lnTo>
                      <a:pt x="217" y="724"/>
                    </a:lnTo>
                    <a:lnTo>
                      <a:pt x="206" y="712"/>
                    </a:lnTo>
                    <a:lnTo>
                      <a:pt x="194" y="699"/>
                    </a:lnTo>
                    <a:lnTo>
                      <a:pt x="183" y="686"/>
                    </a:lnTo>
                    <a:lnTo>
                      <a:pt x="174" y="671"/>
                    </a:lnTo>
                    <a:lnTo>
                      <a:pt x="164" y="656"/>
                    </a:lnTo>
                    <a:lnTo>
                      <a:pt x="156" y="642"/>
                    </a:lnTo>
                    <a:lnTo>
                      <a:pt x="148" y="626"/>
                    </a:lnTo>
                    <a:lnTo>
                      <a:pt x="140" y="610"/>
                    </a:lnTo>
                    <a:lnTo>
                      <a:pt x="134" y="594"/>
                    </a:lnTo>
                    <a:lnTo>
                      <a:pt x="129" y="577"/>
                    </a:lnTo>
                    <a:lnTo>
                      <a:pt x="123" y="560"/>
                    </a:lnTo>
                    <a:lnTo>
                      <a:pt x="120" y="543"/>
                    </a:lnTo>
                    <a:lnTo>
                      <a:pt x="116" y="525"/>
                    </a:lnTo>
                    <a:lnTo>
                      <a:pt x="114" y="507"/>
                    </a:lnTo>
                    <a:lnTo>
                      <a:pt x="113" y="489"/>
                    </a:lnTo>
                    <a:lnTo>
                      <a:pt x="112" y="471"/>
                    </a:lnTo>
                    <a:lnTo>
                      <a:pt x="113" y="452"/>
                    </a:lnTo>
                    <a:lnTo>
                      <a:pt x="114" y="434"/>
                    </a:lnTo>
                    <a:lnTo>
                      <a:pt x="116" y="416"/>
                    </a:lnTo>
                    <a:lnTo>
                      <a:pt x="120" y="399"/>
                    </a:lnTo>
                    <a:lnTo>
                      <a:pt x="123" y="381"/>
                    </a:lnTo>
                    <a:lnTo>
                      <a:pt x="129" y="364"/>
                    </a:lnTo>
                    <a:lnTo>
                      <a:pt x="134" y="347"/>
                    </a:lnTo>
                    <a:lnTo>
                      <a:pt x="140" y="331"/>
                    </a:lnTo>
                    <a:lnTo>
                      <a:pt x="148" y="315"/>
                    </a:lnTo>
                    <a:lnTo>
                      <a:pt x="156" y="299"/>
                    </a:lnTo>
                    <a:lnTo>
                      <a:pt x="164" y="285"/>
                    </a:lnTo>
                    <a:lnTo>
                      <a:pt x="174" y="270"/>
                    </a:lnTo>
                    <a:lnTo>
                      <a:pt x="183" y="256"/>
                    </a:lnTo>
                    <a:lnTo>
                      <a:pt x="194" y="243"/>
                    </a:lnTo>
                    <a:lnTo>
                      <a:pt x="206" y="229"/>
                    </a:lnTo>
                    <a:lnTo>
                      <a:pt x="217" y="217"/>
                    </a:lnTo>
                    <a:lnTo>
                      <a:pt x="229" y="206"/>
                    </a:lnTo>
                    <a:lnTo>
                      <a:pt x="243" y="194"/>
                    </a:lnTo>
                    <a:lnTo>
                      <a:pt x="256" y="183"/>
                    </a:lnTo>
                    <a:lnTo>
                      <a:pt x="270" y="173"/>
                    </a:lnTo>
                    <a:lnTo>
                      <a:pt x="285" y="164"/>
                    </a:lnTo>
                    <a:lnTo>
                      <a:pt x="300" y="155"/>
                    </a:lnTo>
                    <a:lnTo>
                      <a:pt x="315" y="147"/>
                    </a:lnTo>
                    <a:lnTo>
                      <a:pt x="331" y="140"/>
                    </a:lnTo>
                    <a:lnTo>
                      <a:pt x="348" y="133"/>
                    </a:lnTo>
                    <a:lnTo>
                      <a:pt x="365" y="128"/>
                    </a:lnTo>
                    <a:lnTo>
                      <a:pt x="382" y="123"/>
                    </a:lnTo>
                    <a:lnTo>
                      <a:pt x="399" y="119"/>
                    </a:lnTo>
                    <a:lnTo>
                      <a:pt x="417" y="116"/>
                    </a:lnTo>
                    <a:lnTo>
                      <a:pt x="434" y="114"/>
                    </a:lnTo>
                    <a:lnTo>
                      <a:pt x="453" y="112"/>
                    </a:lnTo>
                    <a:lnTo>
                      <a:pt x="471" y="112"/>
                    </a:lnTo>
                    <a:close/>
                  </a:path>
                </a:pathLst>
              </a:custGeom>
              <a:solidFill>
                <a:srgbClr val="0D65AC"/>
              </a:solidFill>
              <a:ln w="3175">
                <a:noFill/>
                <a:round/>
                <a:headEnd/>
                <a:tailEnd/>
              </a:ln>
              <a:effectLst>
                <a:innerShdw dist="38100" dir="5400000">
                  <a:prstClr val="black">
                    <a:alpha val="20000"/>
                  </a:prstClr>
                </a:innerShdw>
              </a:effectLst>
              <a:extLst/>
            </p:spPr>
            <p:txBody>
              <a:bodyPr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200">
                  <a:latin typeface="+mj-lt"/>
                </a:endParaRPr>
              </a:p>
            </p:txBody>
          </p:sp>
          <p:sp>
            <p:nvSpPr>
              <p:cNvPr id="21" name="Freeform 171"/>
              <p:cNvSpPr>
                <a:spLocks/>
              </p:cNvSpPr>
              <p:nvPr/>
            </p:nvSpPr>
            <p:spPr bwMode="auto">
              <a:xfrm>
                <a:off x="677863" y="2493963"/>
                <a:ext cx="93663" cy="138113"/>
              </a:xfrm>
              <a:custGeom>
                <a:avLst/>
                <a:gdLst>
                  <a:gd name="T0" fmla="*/ 279 w 294"/>
                  <a:gd name="T1" fmla="*/ 0 h 433"/>
                  <a:gd name="T2" fmla="*/ 287 w 294"/>
                  <a:gd name="T3" fmla="*/ 22 h 433"/>
                  <a:gd name="T4" fmla="*/ 294 w 294"/>
                  <a:gd name="T5" fmla="*/ 44 h 433"/>
                  <a:gd name="T6" fmla="*/ 279 w 294"/>
                  <a:gd name="T7" fmla="*/ 44 h 433"/>
                  <a:gd name="T8" fmla="*/ 255 w 294"/>
                  <a:gd name="T9" fmla="*/ 46 h 433"/>
                  <a:gd name="T10" fmla="*/ 232 w 294"/>
                  <a:gd name="T11" fmla="*/ 49 h 433"/>
                  <a:gd name="T12" fmla="*/ 209 w 294"/>
                  <a:gd name="T13" fmla="*/ 55 h 433"/>
                  <a:gd name="T14" fmla="*/ 188 w 294"/>
                  <a:gd name="T15" fmla="*/ 63 h 433"/>
                  <a:gd name="T16" fmla="*/ 147 w 294"/>
                  <a:gd name="T17" fmla="*/ 85 h 433"/>
                  <a:gd name="T18" fmla="*/ 113 w 294"/>
                  <a:gd name="T19" fmla="*/ 113 h 433"/>
                  <a:gd name="T20" fmla="*/ 84 w 294"/>
                  <a:gd name="T21" fmla="*/ 148 h 433"/>
                  <a:gd name="T22" fmla="*/ 62 w 294"/>
                  <a:gd name="T23" fmla="*/ 188 h 433"/>
                  <a:gd name="T24" fmla="*/ 54 w 294"/>
                  <a:gd name="T25" fmla="*/ 209 h 433"/>
                  <a:gd name="T26" fmla="*/ 49 w 294"/>
                  <a:gd name="T27" fmla="*/ 232 h 433"/>
                  <a:gd name="T28" fmla="*/ 45 w 294"/>
                  <a:gd name="T29" fmla="*/ 256 h 433"/>
                  <a:gd name="T30" fmla="*/ 44 w 294"/>
                  <a:gd name="T31" fmla="*/ 279 h 433"/>
                  <a:gd name="T32" fmla="*/ 47 w 294"/>
                  <a:gd name="T33" fmla="*/ 319 h 433"/>
                  <a:gd name="T34" fmla="*/ 57 w 294"/>
                  <a:gd name="T35" fmla="*/ 355 h 433"/>
                  <a:gd name="T36" fmla="*/ 71 w 294"/>
                  <a:gd name="T37" fmla="*/ 390 h 433"/>
                  <a:gd name="T38" fmla="*/ 91 w 294"/>
                  <a:gd name="T39" fmla="*/ 421 h 433"/>
                  <a:gd name="T40" fmla="*/ 69 w 294"/>
                  <a:gd name="T41" fmla="*/ 427 h 433"/>
                  <a:gd name="T42" fmla="*/ 45 w 294"/>
                  <a:gd name="T43" fmla="*/ 433 h 433"/>
                  <a:gd name="T44" fmla="*/ 26 w 294"/>
                  <a:gd name="T45" fmla="*/ 398 h 433"/>
                  <a:gd name="T46" fmla="*/ 12 w 294"/>
                  <a:gd name="T47" fmla="*/ 361 h 433"/>
                  <a:gd name="T48" fmla="*/ 3 w 294"/>
                  <a:gd name="T49" fmla="*/ 321 h 433"/>
                  <a:gd name="T50" fmla="*/ 0 w 294"/>
                  <a:gd name="T51" fmla="*/ 279 h 433"/>
                  <a:gd name="T52" fmla="*/ 1 w 294"/>
                  <a:gd name="T53" fmla="*/ 251 h 433"/>
                  <a:gd name="T54" fmla="*/ 6 w 294"/>
                  <a:gd name="T55" fmla="*/ 223 h 433"/>
                  <a:gd name="T56" fmla="*/ 13 w 294"/>
                  <a:gd name="T57" fmla="*/ 197 h 433"/>
                  <a:gd name="T58" fmla="*/ 22 w 294"/>
                  <a:gd name="T59" fmla="*/ 171 h 433"/>
                  <a:gd name="T60" fmla="*/ 34 w 294"/>
                  <a:gd name="T61" fmla="*/ 146 h 433"/>
                  <a:gd name="T62" fmla="*/ 48 w 294"/>
                  <a:gd name="T63" fmla="*/ 124 h 433"/>
                  <a:gd name="T64" fmla="*/ 63 w 294"/>
                  <a:gd name="T65" fmla="*/ 102 h 433"/>
                  <a:gd name="T66" fmla="*/ 82 w 294"/>
                  <a:gd name="T67" fmla="*/ 82 h 433"/>
                  <a:gd name="T68" fmla="*/ 102 w 294"/>
                  <a:gd name="T69" fmla="*/ 65 h 433"/>
                  <a:gd name="T70" fmla="*/ 123 w 294"/>
                  <a:gd name="T71" fmla="*/ 48 h 433"/>
                  <a:gd name="T72" fmla="*/ 146 w 294"/>
                  <a:gd name="T73" fmla="*/ 34 h 433"/>
                  <a:gd name="T74" fmla="*/ 171 w 294"/>
                  <a:gd name="T75" fmla="*/ 23 h 433"/>
                  <a:gd name="T76" fmla="*/ 196 w 294"/>
                  <a:gd name="T77" fmla="*/ 13 h 433"/>
                  <a:gd name="T78" fmla="*/ 223 w 294"/>
                  <a:gd name="T79" fmla="*/ 6 h 433"/>
                  <a:gd name="T80" fmla="*/ 251 w 294"/>
                  <a:gd name="T81" fmla="*/ 2 h 433"/>
                  <a:gd name="T82" fmla="*/ 279 w 294"/>
                  <a:gd name="T83" fmla="*/ 0 h 4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94" h="433">
                    <a:moveTo>
                      <a:pt x="279" y="0"/>
                    </a:moveTo>
                    <a:lnTo>
                      <a:pt x="279" y="0"/>
                    </a:lnTo>
                    <a:lnTo>
                      <a:pt x="284" y="12"/>
                    </a:lnTo>
                    <a:lnTo>
                      <a:pt x="287" y="22"/>
                    </a:lnTo>
                    <a:lnTo>
                      <a:pt x="290" y="33"/>
                    </a:lnTo>
                    <a:lnTo>
                      <a:pt x="294" y="44"/>
                    </a:lnTo>
                    <a:lnTo>
                      <a:pt x="286" y="44"/>
                    </a:lnTo>
                    <a:lnTo>
                      <a:pt x="279" y="44"/>
                    </a:lnTo>
                    <a:lnTo>
                      <a:pt x="267" y="44"/>
                    </a:lnTo>
                    <a:lnTo>
                      <a:pt x="255" y="46"/>
                    </a:lnTo>
                    <a:lnTo>
                      <a:pt x="243" y="47"/>
                    </a:lnTo>
                    <a:lnTo>
                      <a:pt x="232" y="49"/>
                    </a:lnTo>
                    <a:lnTo>
                      <a:pt x="220" y="51"/>
                    </a:lnTo>
                    <a:lnTo>
                      <a:pt x="209" y="55"/>
                    </a:lnTo>
                    <a:lnTo>
                      <a:pt x="198" y="59"/>
                    </a:lnTo>
                    <a:lnTo>
                      <a:pt x="188" y="63"/>
                    </a:lnTo>
                    <a:lnTo>
                      <a:pt x="167" y="73"/>
                    </a:lnTo>
                    <a:lnTo>
                      <a:pt x="147" y="85"/>
                    </a:lnTo>
                    <a:lnTo>
                      <a:pt x="129" y="98"/>
                    </a:lnTo>
                    <a:lnTo>
                      <a:pt x="113" y="113"/>
                    </a:lnTo>
                    <a:lnTo>
                      <a:pt x="97" y="130"/>
                    </a:lnTo>
                    <a:lnTo>
                      <a:pt x="84" y="148"/>
                    </a:lnTo>
                    <a:lnTo>
                      <a:pt x="73" y="168"/>
                    </a:lnTo>
                    <a:lnTo>
                      <a:pt x="62" y="188"/>
                    </a:lnTo>
                    <a:lnTo>
                      <a:pt x="58" y="199"/>
                    </a:lnTo>
                    <a:lnTo>
                      <a:pt x="54" y="209"/>
                    </a:lnTo>
                    <a:lnTo>
                      <a:pt x="51" y="221"/>
                    </a:lnTo>
                    <a:lnTo>
                      <a:pt x="49" y="232"/>
                    </a:lnTo>
                    <a:lnTo>
                      <a:pt x="47" y="244"/>
                    </a:lnTo>
                    <a:lnTo>
                      <a:pt x="45" y="256"/>
                    </a:lnTo>
                    <a:lnTo>
                      <a:pt x="44" y="268"/>
                    </a:lnTo>
                    <a:lnTo>
                      <a:pt x="44" y="279"/>
                    </a:lnTo>
                    <a:lnTo>
                      <a:pt x="44" y="300"/>
                    </a:lnTo>
                    <a:lnTo>
                      <a:pt x="47" y="319"/>
                    </a:lnTo>
                    <a:lnTo>
                      <a:pt x="51" y="337"/>
                    </a:lnTo>
                    <a:lnTo>
                      <a:pt x="57" y="355"/>
                    </a:lnTo>
                    <a:lnTo>
                      <a:pt x="62" y="373"/>
                    </a:lnTo>
                    <a:lnTo>
                      <a:pt x="71" y="390"/>
                    </a:lnTo>
                    <a:lnTo>
                      <a:pt x="80" y="406"/>
                    </a:lnTo>
                    <a:lnTo>
                      <a:pt x="91" y="421"/>
                    </a:lnTo>
                    <a:lnTo>
                      <a:pt x="79" y="424"/>
                    </a:lnTo>
                    <a:lnTo>
                      <a:pt x="69" y="427"/>
                    </a:lnTo>
                    <a:lnTo>
                      <a:pt x="58" y="431"/>
                    </a:lnTo>
                    <a:lnTo>
                      <a:pt x="45" y="433"/>
                    </a:lnTo>
                    <a:lnTo>
                      <a:pt x="35" y="416"/>
                    </a:lnTo>
                    <a:lnTo>
                      <a:pt x="26" y="398"/>
                    </a:lnTo>
                    <a:lnTo>
                      <a:pt x="18" y="380"/>
                    </a:lnTo>
                    <a:lnTo>
                      <a:pt x="12" y="361"/>
                    </a:lnTo>
                    <a:lnTo>
                      <a:pt x="7" y="341"/>
                    </a:lnTo>
                    <a:lnTo>
                      <a:pt x="3" y="321"/>
                    </a:lnTo>
                    <a:lnTo>
                      <a:pt x="0" y="301"/>
                    </a:lnTo>
                    <a:lnTo>
                      <a:pt x="0" y="279"/>
                    </a:lnTo>
                    <a:lnTo>
                      <a:pt x="0" y="266"/>
                    </a:lnTo>
                    <a:lnTo>
                      <a:pt x="1" y="251"/>
                    </a:lnTo>
                    <a:lnTo>
                      <a:pt x="4" y="238"/>
                    </a:lnTo>
                    <a:lnTo>
                      <a:pt x="6" y="223"/>
                    </a:lnTo>
                    <a:lnTo>
                      <a:pt x="8" y="209"/>
                    </a:lnTo>
                    <a:lnTo>
                      <a:pt x="13" y="197"/>
                    </a:lnTo>
                    <a:lnTo>
                      <a:pt x="17" y="183"/>
                    </a:lnTo>
                    <a:lnTo>
                      <a:pt x="22" y="171"/>
                    </a:lnTo>
                    <a:lnTo>
                      <a:pt x="27" y="159"/>
                    </a:lnTo>
                    <a:lnTo>
                      <a:pt x="34" y="146"/>
                    </a:lnTo>
                    <a:lnTo>
                      <a:pt x="40" y="135"/>
                    </a:lnTo>
                    <a:lnTo>
                      <a:pt x="48" y="124"/>
                    </a:lnTo>
                    <a:lnTo>
                      <a:pt x="56" y="112"/>
                    </a:lnTo>
                    <a:lnTo>
                      <a:pt x="63" y="102"/>
                    </a:lnTo>
                    <a:lnTo>
                      <a:pt x="73" y="92"/>
                    </a:lnTo>
                    <a:lnTo>
                      <a:pt x="82" y="82"/>
                    </a:lnTo>
                    <a:lnTo>
                      <a:pt x="92" y="73"/>
                    </a:lnTo>
                    <a:lnTo>
                      <a:pt x="102" y="65"/>
                    </a:lnTo>
                    <a:lnTo>
                      <a:pt x="112" y="56"/>
                    </a:lnTo>
                    <a:lnTo>
                      <a:pt x="123" y="48"/>
                    </a:lnTo>
                    <a:lnTo>
                      <a:pt x="135" y="41"/>
                    </a:lnTo>
                    <a:lnTo>
                      <a:pt x="146" y="34"/>
                    </a:lnTo>
                    <a:lnTo>
                      <a:pt x="158" y="28"/>
                    </a:lnTo>
                    <a:lnTo>
                      <a:pt x="171" y="23"/>
                    </a:lnTo>
                    <a:lnTo>
                      <a:pt x="183" y="17"/>
                    </a:lnTo>
                    <a:lnTo>
                      <a:pt x="196" y="13"/>
                    </a:lnTo>
                    <a:lnTo>
                      <a:pt x="209" y="9"/>
                    </a:lnTo>
                    <a:lnTo>
                      <a:pt x="223" y="6"/>
                    </a:lnTo>
                    <a:lnTo>
                      <a:pt x="236" y="4"/>
                    </a:lnTo>
                    <a:lnTo>
                      <a:pt x="251" y="2"/>
                    </a:lnTo>
                    <a:lnTo>
                      <a:pt x="264" y="0"/>
                    </a:lnTo>
                    <a:lnTo>
                      <a:pt x="27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</p:grpSp>
        <p:sp>
          <p:nvSpPr>
            <p:cNvPr id="19" name="Oval 8"/>
            <p:cNvSpPr/>
            <p:nvPr/>
          </p:nvSpPr>
          <p:spPr>
            <a:xfrm>
              <a:off x="5259267" y="2803881"/>
              <a:ext cx="1641159" cy="1641159"/>
            </a:xfrm>
            <a:prstGeom prst="ellipse">
              <a:avLst/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dirty="0"/>
            </a:p>
          </p:txBody>
        </p:sp>
      </p:grpSp>
      <p:grpSp>
        <p:nvGrpSpPr>
          <p:cNvPr id="22" name="Group 4"/>
          <p:cNvGrpSpPr/>
          <p:nvPr/>
        </p:nvGrpSpPr>
        <p:grpSpPr>
          <a:xfrm>
            <a:off x="517089" y="2530264"/>
            <a:ext cx="304800" cy="243840"/>
            <a:chOff x="990600" y="1905000"/>
            <a:chExt cx="381000" cy="3048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4" name="Oval 3"/>
            <p:cNvSpPr/>
            <p:nvPr/>
          </p:nvSpPr>
          <p:spPr>
            <a:xfrm>
              <a:off x="990600" y="1905000"/>
              <a:ext cx="304800" cy="304800"/>
            </a:xfrm>
            <a:prstGeom prst="ellipse">
              <a:avLst/>
            </a:prstGeom>
            <a:noFill/>
            <a:ln>
              <a:solidFill>
                <a:srgbClr val="0D65A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5" name="Freeform 111"/>
            <p:cNvSpPr>
              <a:spLocks/>
            </p:cNvSpPr>
            <p:nvPr/>
          </p:nvSpPr>
          <p:spPr bwMode="auto">
            <a:xfrm>
              <a:off x="1057401" y="1905000"/>
              <a:ext cx="314199" cy="244713"/>
            </a:xfrm>
            <a:custGeom>
              <a:avLst/>
              <a:gdLst>
                <a:gd name="T0" fmla="*/ 0 w 516"/>
                <a:gd name="T1" fmla="*/ 233 h 406"/>
                <a:gd name="T2" fmla="*/ 110 w 516"/>
                <a:gd name="T3" fmla="*/ 406 h 406"/>
                <a:gd name="T4" fmla="*/ 516 w 516"/>
                <a:gd name="T5" fmla="*/ 0 h 406"/>
                <a:gd name="T6" fmla="*/ 133 w 516"/>
                <a:gd name="T7" fmla="*/ 284 h 406"/>
                <a:gd name="T8" fmla="*/ 0 w 516"/>
                <a:gd name="T9" fmla="*/ 233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6" h="406">
                  <a:moveTo>
                    <a:pt x="0" y="233"/>
                  </a:moveTo>
                  <a:lnTo>
                    <a:pt x="110" y="406"/>
                  </a:lnTo>
                  <a:lnTo>
                    <a:pt x="516" y="0"/>
                  </a:lnTo>
                  <a:lnTo>
                    <a:pt x="133" y="284"/>
                  </a:lnTo>
                  <a:lnTo>
                    <a:pt x="0" y="233"/>
                  </a:lnTo>
                  <a:close/>
                </a:path>
              </a:pathLst>
            </a:custGeom>
            <a:solidFill>
              <a:srgbClr val="0D65AC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grpSp>
        <p:nvGrpSpPr>
          <p:cNvPr id="26" name="Group 36"/>
          <p:cNvGrpSpPr/>
          <p:nvPr/>
        </p:nvGrpSpPr>
        <p:grpSpPr>
          <a:xfrm>
            <a:off x="510868" y="2996584"/>
            <a:ext cx="304800" cy="243840"/>
            <a:chOff x="990600" y="1905000"/>
            <a:chExt cx="381000" cy="3048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7" name="Oval 37"/>
            <p:cNvSpPr/>
            <p:nvPr/>
          </p:nvSpPr>
          <p:spPr>
            <a:xfrm>
              <a:off x="990600" y="1905000"/>
              <a:ext cx="304800" cy="304800"/>
            </a:xfrm>
            <a:prstGeom prst="ellipse">
              <a:avLst/>
            </a:prstGeom>
            <a:noFill/>
            <a:ln>
              <a:solidFill>
                <a:srgbClr val="CE20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8" name="Freeform 111"/>
            <p:cNvSpPr>
              <a:spLocks/>
            </p:cNvSpPr>
            <p:nvPr/>
          </p:nvSpPr>
          <p:spPr bwMode="auto">
            <a:xfrm>
              <a:off x="1057401" y="1905000"/>
              <a:ext cx="314199" cy="244713"/>
            </a:xfrm>
            <a:custGeom>
              <a:avLst/>
              <a:gdLst>
                <a:gd name="T0" fmla="*/ 0 w 516"/>
                <a:gd name="T1" fmla="*/ 233 h 406"/>
                <a:gd name="T2" fmla="*/ 110 w 516"/>
                <a:gd name="T3" fmla="*/ 406 h 406"/>
                <a:gd name="T4" fmla="*/ 516 w 516"/>
                <a:gd name="T5" fmla="*/ 0 h 406"/>
                <a:gd name="T6" fmla="*/ 133 w 516"/>
                <a:gd name="T7" fmla="*/ 284 h 406"/>
                <a:gd name="T8" fmla="*/ 0 w 516"/>
                <a:gd name="T9" fmla="*/ 233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6" h="406">
                  <a:moveTo>
                    <a:pt x="0" y="233"/>
                  </a:moveTo>
                  <a:lnTo>
                    <a:pt x="110" y="406"/>
                  </a:lnTo>
                  <a:lnTo>
                    <a:pt x="516" y="0"/>
                  </a:lnTo>
                  <a:lnTo>
                    <a:pt x="133" y="284"/>
                  </a:lnTo>
                  <a:lnTo>
                    <a:pt x="0" y="233"/>
                  </a:lnTo>
                  <a:close/>
                </a:path>
              </a:pathLst>
            </a:custGeom>
            <a:solidFill>
              <a:srgbClr val="CE202A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grpSp>
        <p:nvGrpSpPr>
          <p:cNvPr id="29" name="Group 50"/>
          <p:cNvGrpSpPr/>
          <p:nvPr/>
        </p:nvGrpSpPr>
        <p:grpSpPr>
          <a:xfrm>
            <a:off x="512669" y="3473505"/>
            <a:ext cx="304800" cy="243840"/>
            <a:chOff x="990600" y="1905000"/>
            <a:chExt cx="381000" cy="3048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0" name="Oval 52"/>
            <p:cNvSpPr/>
            <p:nvPr/>
          </p:nvSpPr>
          <p:spPr>
            <a:xfrm>
              <a:off x="990600" y="1905000"/>
              <a:ext cx="304800" cy="304800"/>
            </a:xfrm>
            <a:prstGeom prst="ellipse">
              <a:avLst/>
            </a:prstGeom>
            <a:noFill/>
            <a:ln>
              <a:solidFill>
                <a:srgbClr val="F0B71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1" name="Freeform 111"/>
            <p:cNvSpPr>
              <a:spLocks/>
            </p:cNvSpPr>
            <p:nvPr/>
          </p:nvSpPr>
          <p:spPr bwMode="auto">
            <a:xfrm>
              <a:off x="1057401" y="1905000"/>
              <a:ext cx="314199" cy="244713"/>
            </a:xfrm>
            <a:custGeom>
              <a:avLst/>
              <a:gdLst>
                <a:gd name="T0" fmla="*/ 0 w 516"/>
                <a:gd name="T1" fmla="*/ 233 h 406"/>
                <a:gd name="T2" fmla="*/ 110 w 516"/>
                <a:gd name="T3" fmla="*/ 406 h 406"/>
                <a:gd name="T4" fmla="*/ 516 w 516"/>
                <a:gd name="T5" fmla="*/ 0 h 406"/>
                <a:gd name="T6" fmla="*/ 133 w 516"/>
                <a:gd name="T7" fmla="*/ 284 h 406"/>
                <a:gd name="T8" fmla="*/ 0 w 516"/>
                <a:gd name="T9" fmla="*/ 233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6" h="406">
                  <a:moveTo>
                    <a:pt x="0" y="233"/>
                  </a:moveTo>
                  <a:lnTo>
                    <a:pt x="110" y="406"/>
                  </a:lnTo>
                  <a:lnTo>
                    <a:pt x="516" y="0"/>
                  </a:lnTo>
                  <a:lnTo>
                    <a:pt x="133" y="284"/>
                  </a:lnTo>
                  <a:lnTo>
                    <a:pt x="0" y="233"/>
                  </a:lnTo>
                  <a:close/>
                </a:path>
              </a:pathLst>
            </a:custGeom>
            <a:solidFill>
              <a:srgbClr val="F0B71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215686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953583" y="507290"/>
            <a:ext cx="7585412" cy="3976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정신질환  관리  및  사회적  인식  해소」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76230" y="1064098"/>
            <a:ext cx="832630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국내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8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세 성인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6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명 중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명은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회 이상 정신질환 경험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‘11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정신질환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보편화 추세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2010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기준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정신질환으로 인한 사회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․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경제적 비용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3.5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조원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대</a:t>
            </a:r>
            <a:r>
              <a:rPr lang="en-US" altLang="ko-KR" sz="12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2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삼성경제硏</a:t>
            </a:r>
            <a:r>
              <a:rPr lang="ko-KR" altLang="en-US" sz="1200" dirty="0">
                <a:latin typeface="휴먼명조" panose="02010504000101010101" pitchFamily="2" charset="-127"/>
                <a:ea typeface="휴먼명조" panose="02010504000101010101" pitchFamily="2" charset="-127"/>
              </a:rPr>
              <a:t> 보고</a:t>
            </a:r>
            <a:r>
              <a:rPr lang="en-US" altLang="ko-KR" sz="120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endParaRPr lang="ko-KR" altLang="en-US" sz="12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문제는 정신질환에 대한 사회적 인식과 은폐풍조가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여전  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비자발적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치료가 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75%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국민정서 감안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非약물치료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경우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Z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코드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: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치료기록 제외」제도를 시행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중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·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「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非약물치료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」는 정신질환 치료 효과를 기대할 수 없어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사실상 유명무실한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제도임</a:t>
            </a:r>
            <a:endParaRPr lang="ko-KR" altLang="en-US" sz="14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11560" y="6046429"/>
            <a:ext cx="843229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입원</a:t>
            </a:r>
            <a:r>
              <a:rPr lang="en-US" altLang="ko-KR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치료중심」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에서 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조기 치료중심」 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정책으로 전환 필요</a:t>
            </a:r>
            <a:endParaRPr lang="en-US" altLang="ko-KR" sz="22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pSp>
        <p:nvGrpSpPr>
          <p:cNvPr id="15" name="그룹 14"/>
          <p:cNvGrpSpPr/>
          <p:nvPr/>
        </p:nvGrpSpPr>
        <p:grpSpPr>
          <a:xfrm>
            <a:off x="4145312" y="3080217"/>
            <a:ext cx="4210879" cy="2755089"/>
            <a:chOff x="4094934" y="3207752"/>
            <a:chExt cx="4210879" cy="2755089"/>
          </a:xfrm>
        </p:grpSpPr>
        <p:sp>
          <p:nvSpPr>
            <p:cNvPr id="17" name="Rectangle 5"/>
            <p:cNvSpPr/>
            <p:nvPr/>
          </p:nvSpPr>
          <p:spPr>
            <a:xfrm>
              <a:off x="4492750" y="3350857"/>
              <a:ext cx="3813063" cy="50806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200">
                <a:solidFill>
                  <a:schemeClr val="tx1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18" name="Rectangle 9"/>
            <p:cNvSpPr/>
            <p:nvPr/>
          </p:nvSpPr>
          <p:spPr>
            <a:xfrm>
              <a:off x="4492750" y="3611373"/>
              <a:ext cx="3800571" cy="247553"/>
            </a:xfrm>
            <a:prstGeom prst="rect">
              <a:avLst/>
            </a:prstGeom>
            <a:solidFill>
              <a:srgbClr val="CE202A"/>
            </a:solidFill>
            <a:ln w="19050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20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20" name="Snip Single Corner Rectangle 6"/>
            <p:cNvSpPr/>
            <p:nvPr/>
          </p:nvSpPr>
          <p:spPr>
            <a:xfrm flipH="1">
              <a:off x="7003288" y="3209254"/>
              <a:ext cx="1302525" cy="260516"/>
            </a:xfrm>
            <a:prstGeom prst="snip1Rect">
              <a:avLst>
                <a:gd name="adj" fmla="val 50000"/>
              </a:avLst>
            </a:prstGeom>
            <a:solidFill>
              <a:srgbClr val="0D65AC"/>
            </a:solidFill>
            <a:ln w="19050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200">
                <a:solidFill>
                  <a:schemeClr val="tx1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21" name="Rectangle 10"/>
            <p:cNvSpPr/>
            <p:nvPr/>
          </p:nvSpPr>
          <p:spPr>
            <a:xfrm rot="5400000">
              <a:off x="7944719" y="3758349"/>
              <a:ext cx="649674" cy="72515"/>
            </a:xfrm>
            <a:prstGeom prst="rect">
              <a:avLst/>
            </a:prstGeom>
            <a:solidFill>
              <a:srgbClr val="CE202A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22" name="Rectangle 8"/>
            <p:cNvSpPr/>
            <p:nvPr/>
          </p:nvSpPr>
          <p:spPr>
            <a:xfrm>
              <a:off x="4492750" y="3858926"/>
              <a:ext cx="3740550" cy="210391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200">
                <a:solidFill>
                  <a:schemeClr val="tx1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23" name="Rectangle 33"/>
            <p:cNvSpPr>
              <a:spLocks/>
            </p:cNvSpPr>
            <p:nvPr/>
          </p:nvSpPr>
          <p:spPr bwMode="auto">
            <a:xfrm>
              <a:off x="5413058" y="3392864"/>
              <a:ext cx="879756" cy="6845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rnd">
                  <a:solidFill>
                    <a:schemeClr val="tx1"/>
                  </a:solidFill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lIns="38100" tIns="38100" rIns="38100" bIns="3810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375"/>
                </a:spcBef>
              </a:pPr>
              <a:endParaRPr lang="en-US" sz="4800" b="1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Calibri" charset="0"/>
                <a:sym typeface="Calibri" charset="0"/>
              </a:endParaRPr>
            </a:p>
          </p:txBody>
        </p:sp>
        <p:sp>
          <p:nvSpPr>
            <p:cNvPr id="24" name="Rectangle 37"/>
            <p:cNvSpPr>
              <a:spLocks/>
            </p:cNvSpPr>
            <p:nvPr/>
          </p:nvSpPr>
          <p:spPr bwMode="auto">
            <a:xfrm>
              <a:off x="7089908" y="3207752"/>
              <a:ext cx="1115853" cy="2620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rnd">
                  <a:solidFill>
                    <a:schemeClr val="tx1"/>
                  </a:solidFill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lIns="38100" tIns="38100" rIns="38100" bIns="3810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375"/>
                </a:spcBef>
              </a:pPr>
              <a:r>
                <a:rPr lang="en-US" sz="105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Z </a:t>
              </a:r>
              <a:r>
                <a:rPr lang="ko-KR" altLang="en-US" sz="105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코드 실패 사유</a:t>
              </a:r>
              <a:endParaRPr lang="en-US" sz="105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  <a:cs typeface="Calibri" charset="0"/>
                <a:sym typeface="Calibri" charset="0"/>
              </a:endParaRPr>
            </a:p>
          </p:txBody>
        </p:sp>
        <p:sp>
          <p:nvSpPr>
            <p:cNvPr id="27" name="Rectangle 27"/>
            <p:cNvSpPr>
              <a:spLocks/>
            </p:cNvSpPr>
            <p:nvPr/>
          </p:nvSpPr>
          <p:spPr bwMode="auto">
            <a:xfrm>
              <a:off x="4685973" y="4074908"/>
              <a:ext cx="3455207" cy="17253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rnd">
                  <a:solidFill>
                    <a:schemeClr val="tx1"/>
                  </a:solidFill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lIns="38100" tIns="38100" rIns="38100" bIns="3810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375"/>
                </a:spcBef>
              </a:pPr>
              <a:r>
                <a:rPr lang="ko-KR" altLang="en-US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① 경증 우울</a:t>
              </a:r>
              <a:r>
                <a:rPr lang="en-US" altLang="ko-KR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·</a:t>
              </a:r>
              <a:r>
                <a:rPr lang="ko-KR" altLang="en-US" sz="1200" dirty="0" err="1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불안증</a:t>
              </a:r>
              <a:r>
                <a:rPr lang="ko-KR" altLang="en-US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 등 가벼운 정신과 질병도 </a:t>
              </a:r>
              <a:endParaRPr lang="en-US" altLang="ko-KR" sz="1200" dirty="0" smtClean="0">
                <a:solidFill>
                  <a:srgbClr val="151616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Calibri" charset="0"/>
                <a:sym typeface="Calibri" charset="0"/>
              </a:endParaRPr>
            </a:p>
            <a:p>
              <a:pPr>
                <a:spcBef>
                  <a:spcPts val="375"/>
                </a:spcBef>
              </a:pPr>
              <a:r>
                <a:rPr lang="en-US" altLang="ko-KR" sz="1200" dirty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 </a:t>
              </a:r>
              <a:r>
                <a:rPr lang="en-US" altLang="ko-KR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   </a:t>
              </a:r>
              <a:r>
                <a:rPr lang="ko-KR" altLang="en-US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대부분 약물치료 필요</a:t>
              </a:r>
              <a:endParaRPr lang="en-US" altLang="ko-KR" sz="1200" dirty="0" smtClean="0">
                <a:solidFill>
                  <a:srgbClr val="151616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Calibri" charset="0"/>
                <a:sym typeface="Calibri" charset="0"/>
              </a:endParaRPr>
            </a:p>
            <a:p>
              <a:pPr>
                <a:spcBef>
                  <a:spcPts val="375"/>
                </a:spcBef>
              </a:pPr>
              <a:r>
                <a:rPr lang="ko-KR" altLang="en-US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② 불면증</a:t>
              </a:r>
              <a:r>
                <a:rPr lang="en-US" altLang="ko-KR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·</a:t>
              </a:r>
              <a:r>
                <a:rPr lang="ko-KR" altLang="en-US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스트레스</a:t>
              </a:r>
              <a:r>
                <a:rPr lang="en-US" altLang="ko-KR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(</a:t>
              </a:r>
              <a:r>
                <a:rPr lang="ko-KR" altLang="en-US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적응장애</a:t>
              </a:r>
              <a:r>
                <a:rPr lang="en-US" altLang="ko-KR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) </a:t>
              </a:r>
              <a:r>
                <a:rPr lang="ko-KR" altLang="en-US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상담도 안정제</a:t>
              </a:r>
              <a:r>
                <a:rPr lang="en-US" altLang="ko-KR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·</a:t>
              </a:r>
            </a:p>
            <a:p>
              <a:pPr>
                <a:spcBef>
                  <a:spcPts val="375"/>
                </a:spcBef>
              </a:pPr>
              <a:r>
                <a:rPr lang="en-US" sz="1200" dirty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 </a:t>
              </a:r>
              <a:r>
                <a:rPr lang="en-US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   </a:t>
              </a:r>
              <a:r>
                <a:rPr lang="ko-KR" altLang="en-US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수면제 등 약물치료 필요</a:t>
              </a:r>
              <a:endParaRPr lang="en-US" altLang="ko-KR" sz="1200" dirty="0" smtClean="0">
                <a:solidFill>
                  <a:srgbClr val="151616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Calibri" charset="0"/>
                <a:sym typeface="Calibri" charset="0"/>
              </a:endParaRPr>
            </a:p>
            <a:p>
              <a:pPr>
                <a:spcBef>
                  <a:spcPts val="375"/>
                </a:spcBef>
              </a:pPr>
              <a:r>
                <a:rPr lang="ko-KR" altLang="en-US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③ 소아</a:t>
              </a:r>
              <a:r>
                <a:rPr lang="en-US" altLang="ko-KR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·</a:t>
              </a:r>
              <a:r>
                <a:rPr lang="ko-KR" altLang="en-US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청소년 </a:t>
              </a:r>
              <a:r>
                <a:rPr lang="en-US" altLang="ko-KR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ADHD</a:t>
              </a:r>
              <a:r>
                <a:rPr lang="ko-KR" altLang="en-US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는 검사와 약물치료를 </a:t>
              </a:r>
              <a:endParaRPr lang="en-US" altLang="ko-KR" sz="1200" dirty="0" smtClean="0">
                <a:solidFill>
                  <a:srgbClr val="151616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Calibri" charset="0"/>
                <a:sym typeface="Calibri" charset="0"/>
              </a:endParaRPr>
            </a:p>
            <a:p>
              <a:pPr>
                <a:spcBef>
                  <a:spcPts val="375"/>
                </a:spcBef>
              </a:pPr>
              <a:r>
                <a:rPr lang="en-US" altLang="ko-KR" sz="1200" dirty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 </a:t>
              </a:r>
              <a:r>
                <a:rPr lang="en-US" altLang="ko-KR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   </a:t>
              </a:r>
              <a:r>
                <a:rPr lang="ko-KR" altLang="en-US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하는 경우가 대부분</a:t>
              </a:r>
              <a:endParaRPr lang="en-US" altLang="ko-KR" sz="1200" dirty="0" smtClean="0">
                <a:solidFill>
                  <a:srgbClr val="151616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Calibri" charset="0"/>
                <a:sym typeface="Calibri" charset="0"/>
              </a:endParaRPr>
            </a:p>
            <a:p>
              <a:pPr>
                <a:spcBef>
                  <a:spcPts val="375"/>
                </a:spcBef>
              </a:pPr>
              <a:r>
                <a:rPr lang="ko-KR" altLang="en-US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④ 약물치료 필요 없는 분석 치료는 이미</a:t>
              </a:r>
              <a:r>
                <a:rPr lang="en-US" altLang="ko-KR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 </a:t>
              </a:r>
              <a:r>
                <a:rPr lang="ko-KR" altLang="en-US" sz="1200" dirty="0" err="1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비급여</a:t>
              </a:r>
              <a:endParaRPr lang="en-US" sz="1200" dirty="0">
                <a:solidFill>
                  <a:srgbClr val="151616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Calibri" charset="0"/>
                <a:sym typeface="Calibri" charset="0"/>
              </a:endParaRPr>
            </a:p>
          </p:txBody>
        </p:sp>
        <p:sp>
          <p:nvSpPr>
            <p:cNvPr id="29" name="Rectangle 7"/>
            <p:cNvSpPr/>
            <p:nvPr/>
          </p:nvSpPr>
          <p:spPr>
            <a:xfrm>
              <a:off x="4890565" y="3596648"/>
              <a:ext cx="3342733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375"/>
                </a:spcBef>
              </a:pPr>
              <a:r>
                <a:rPr lang="en-US" sz="120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HY견고딕" panose="02030600000101010101" pitchFamily="18" charset="-127"/>
                  <a:ea typeface="HY견고딕" panose="02030600000101010101" pitchFamily="18" charset="-127"/>
                  <a:cs typeface="Calibri Bold" charset="0"/>
                  <a:sym typeface="Calibri Bold" charset="0"/>
                </a:rPr>
                <a:t>Z </a:t>
              </a:r>
              <a:r>
                <a:rPr lang="ko-KR" altLang="en-US" sz="120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HY견고딕" panose="02030600000101010101" pitchFamily="18" charset="-127"/>
                  <a:ea typeface="HY견고딕" panose="02030600000101010101" pitchFamily="18" charset="-127"/>
                  <a:cs typeface="Calibri Bold" charset="0"/>
                  <a:sym typeface="Calibri Bold" charset="0"/>
                </a:rPr>
                <a:t>코드 적용 못 받는 사례가 많음</a:t>
              </a:r>
              <a:endParaRPr lang="en-US" sz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  <a:cs typeface="Calibri" charset="0"/>
                <a:sym typeface="Calibri" charset="0"/>
              </a:endParaRPr>
            </a:p>
          </p:txBody>
        </p:sp>
        <p:sp>
          <p:nvSpPr>
            <p:cNvPr id="19" name="Oval 4"/>
            <p:cNvSpPr/>
            <p:nvPr/>
          </p:nvSpPr>
          <p:spPr>
            <a:xfrm>
              <a:off x="4094934" y="3350857"/>
              <a:ext cx="795631" cy="768585"/>
            </a:xfrm>
            <a:prstGeom prst="ellipse">
              <a:avLst/>
            </a:prstGeom>
            <a:solidFill>
              <a:srgbClr val="CE202A"/>
            </a:solidFill>
            <a:ln w="19050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200">
                <a:solidFill>
                  <a:schemeClr val="tx1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</p:grpSp>
      <p:sp>
        <p:nvSpPr>
          <p:cNvPr id="32" name="Freeform 13"/>
          <p:cNvSpPr>
            <a:spLocks noEditPoints="1"/>
          </p:cNvSpPr>
          <p:nvPr/>
        </p:nvSpPr>
        <p:spPr bwMode="auto">
          <a:xfrm rot="10585247" flipV="1">
            <a:off x="4324158" y="3343828"/>
            <a:ext cx="437938" cy="527565"/>
          </a:xfrm>
          <a:custGeom>
            <a:avLst/>
            <a:gdLst>
              <a:gd name="T0" fmla="*/ 2022 w 2403"/>
              <a:gd name="T1" fmla="*/ 144 h 2897"/>
              <a:gd name="T2" fmla="*/ 1852 w 2403"/>
              <a:gd name="T3" fmla="*/ 57 h 2897"/>
              <a:gd name="T4" fmla="*/ 1632 w 2403"/>
              <a:gd name="T5" fmla="*/ 1 h 2897"/>
              <a:gd name="T6" fmla="*/ 1548 w 2403"/>
              <a:gd name="T7" fmla="*/ 2 h 2897"/>
              <a:gd name="T8" fmla="*/ 1491 w 2403"/>
              <a:gd name="T9" fmla="*/ 23 h 2897"/>
              <a:gd name="T10" fmla="*/ 785 w 2403"/>
              <a:gd name="T11" fmla="*/ 948 h 2897"/>
              <a:gd name="T12" fmla="*/ 48 w 2403"/>
              <a:gd name="T13" fmla="*/ 1933 h 2897"/>
              <a:gd name="T14" fmla="*/ 30 w 2403"/>
              <a:gd name="T15" fmla="*/ 1995 h 2897"/>
              <a:gd name="T16" fmla="*/ 3 w 2403"/>
              <a:gd name="T17" fmla="*/ 2340 h 2897"/>
              <a:gd name="T18" fmla="*/ 7 w 2403"/>
              <a:gd name="T19" fmla="*/ 2732 h 2897"/>
              <a:gd name="T20" fmla="*/ 27 w 2403"/>
              <a:gd name="T21" fmla="*/ 2871 h 2897"/>
              <a:gd name="T22" fmla="*/ 42 w 2403"/>
              <a:gd name="T23" fmla="*/ 2891 h 2897"/>
              <a:gd name="T24" fmla="*/ 118 w 2403"/>
              <a:gd name="T25" fmla="*/ 2896 h 2897"/>
              <a:gd name="T26" fmla="*/ 340 w 2403"/>
              <a:gd name="T27" fmla="*/ 2850 h 2897"/>
              <a:gd name="T28" fmla="*/ 724 w 2403"/>
              <a:gd name="T29" fmla="*/ 2722 h 2897"/>
              <a:gd name="T30" fmla="*/ 926 w 2403"/>
              <a:gd name="T31" fmla="*/ 2628 h 2897"/>
              <a:gd name="T32" fmla="*/ 987 w 2403"/>
              <a:gd name="T33" fmla="*/ 2578 h 2897"/>
              <a:gd name="T34" fmla="*/ 1454 w 2403"/>
              <a:gd name="T35" fmla="*/ 1961 h 2897"/>
              <a:gd name="T36" fmla="*/ 2390 w 2403"/>
              <a:gd name="T37" fmla="*/ 675 h 2897"/>
              <a:gd name="T38" fmla="*/ 2403 w 2403"/>
              <a:gd name="T39" fmla="*/ 631 h 2897"/>
              <a:gd name="T40" fmla="*/ 2392 w 2403"/>
              <a:gd name="T41" fmla="*/ 562 h 2897"/>
              <a:gd name="T42" fmla="*/ 2334 w 2403"/>
              <a:gd name="T43" fmla="*/ 447 h 2897"/>
              <a:gd name="T44" fmla="*/ 2193 w 2403"/>
              <a:gd name="T45" fmla="*/ 279 h 2897"/>
              <a:gd name="T46" fmla="*/ 1398 w 2403"/>
              <a:gd name="T47" fmla="*/ 308 h 2897"/>
              <a:gd name="T48" fmla="*/ 1421 w 2403"/>
              <a:gd name="T49" fmla="*/ 290 h 2897"/>
              <a:gd name="T50" fmla="*/ 1468 w 2403"/>
              <a:gd name="T51" fmla="*/ 287 h 2897"/>
              <a:gd name="T52" fmla="*/ 1528 w 2403"/>
              <a:gd name="T53" fmla="*/ 313 h 2897"/>
              <a:gd name="T54" fmla="*/ 1580 w 2403"/>
              <a:gd name="T55" fmla="*/ 368 h 2897"/>
              <a:gd name="T56" fmla="*/ 1587 w 2403"/>
              <a:gd name="T57" fmla="*/ 409 h 2897"/>
              <a:gd name="T58" fmla="*/ 337 w 2403"/>
              <a:gd name="T59" fmla="*/ 1902 h 2897"/>
              <a:gd name="T60" fmla="*/ 473 w 2403"/>
              <a:gd name="T61" fmla="*/ 2660 h 2897"/>
              <a:gd name="T62" fmla="*/ 364 w 2403"/>
              <a:gd name="T63" fmla="*/ 2709 h 2897"/>
              <a:gd name="T64" fmla="*/ 169 w 2403"/>
              <a:gd name="T65" fmla="*/ 2764 h 2897"/>
              <a:gd name="T66" fmla="*/ 134 w 2403"/>
              <a:gd name="T67" fmla="*/ 2763 h 2897"/>
              <a:gd name="T68" fmla="*/ 125 w 2403"/>
              <a:gd name="T69" fmla="*/ 2643 h 2897"/>
              <a:gd name="T70" fmla="*/ 137 w 2403"/>
              <a:gd name="T71" fmla="*/ 2423 h 2897"/>
              <a:gd name="T72" fmla="*/ 151 w 2403"/>
              <a:gd name="T73" fmla="*/ 2404 h 2897"/>
              <a:gd name="T74" fmla="*/ 206 w 2403"/>
              <a:gd name="T75" fmla="*/ 2409 h 2897"/>
              <a:gd name="T76" fmla="*/ 355 w 2403"/>
              <a:gd name="T77" fmla="*/ 2486 h 2897"/>
              <a:gd name="T78" fmla="*/ 454 w 2403"/>
              <a:gd name="T79" fmla="*/ 2577 h 2897"/>
              <a:gd name="T80" fmla="*/ 480 w 2403"/>
              <a:gd name="T81" fmla="*/ 2630 h 2897"/>
              <a:gd name="T82" fmla="*/ 490 w 2403"/>
              <a:gd name="T83" fmla="*/ 2117 h 2897"/>
              <a:gd name="T84" fmla="*/ 1708 w 2403"/>
              <a:gd name="T85" fmla="*/ 446 h 2897"/>
              <a:gd name="T86" fmla="*/ 1748 w 2403"/>
              <a:gd name="T87" fmla="*/ 445 h 2897"/>
              <a:gd name="T88" fmla="*/ 1821 w 2403"/>
              <a:gd name="T89" fmla="*/ 478 h 2897"/>
              <a:gd name="T90" fmla="*/ 1867 w 2403"/>
              <a:gd name="T91" fmla="*/ 520 h 2897"/>
              <a:gd name="T92" fmla="*/ 1888 w 2403"/>
              <a:gd name="T93" fmla="*/ 565 h 2897"/>
              <a:gd name="T94" fmla="*/ 624 w 2403"/>
              <a:gd name="T95" fmla="*/ 2291 h 2897"/>
              <a:gd name="T96" fmla="*/ 902 w 2403"/>
              <a:gd name="T97" fmla="*/ 2386 h 2897"/>
              <a:gd name="T98" fmla="*/ 1979 w 2403"/>
              <a:gd name="T99" fmla="*/ 672 h 2897"/>
              <a:gd name="T100" fmla="*/ 2014 w 2403"/>
              <a:gd name="T101" fmla="*/ 670 h 2897"/>
              <a:gd name="T102" fmla="*/ 2067 w 2403"/>
              <a:gd name="T103" fmla="*/ 704 h 2897"/>
              <a:gd name="T104" fmla="*/ 2108 w 2403"/>
              <a:gd name="T105" fmla="*/ 754 h 2897"/>
              <a:gd name="T106" fmla="*/ 2123 w 2403"/>
              <a:gd name="T107" fmla="*/ 801 h 2897"/>
              <a:gd name="T108" fmla="*/ 2117 w 2403"/>
              <a:gd name="T109" fmla="*/ 835 h 28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403" h="2897">
                <a:moveTo>
                  <a:pt x="2095" y="193"/>
                </a:moveTo>
                <a:lnTo>
                  <a:pt x="2095" y="193"/>
                </a:lnTo>
                <a:lnTo>
                  <a:pt x="2071" y="176"/>
                </a:lnTo>
                <a:lnTo>
                  <a:pt x="2046" y="159"/>
                </a:lnTo>
                <a:lnTo>
                  <a:pt x="2022" y="144"/>
                </a:lnTo>
                <a:lnTo>
                  <a:pt x="1998" y="129"/>
                </a:lnTo>
                <a:lnTo>
                  <a:pt x="1974" y="115"/>
                </a:lnTo>
                <a:lnTo>
                  <a:pt x="1948" y="101"/>
                </a:lnTo>
                <a:lnTo>
                  <a:pt x="1900" y="78"/>
                </a:lnTo>
                <a:lnTo>
                  <a:pt x="1852" y="57"/>
                </a:lnTo>
                <a:lnTo>
                  <a:pt x="1803" y="40"/>
                </a:lnTo>
                <a:lnTo>
                  <a:pt x="1757" y="25"/>
                </a:lnTo>
                <a:lnTo>
                  <a:pt x="1714" y="14"/>
                </a:lnTo>
                <a:lnTo>
                  <a:pt x="1671" y="6"/>
                </a:lnTo>
                <a:lnTo>
                  <a:pt x="1632" y="1"/>
                </a:lnTo>
                <a:lnTo>
                  <a:pt x="1613" y="0"/>
                </a:lnTo>
                <a:lnTo>
                  <a:pt x="1595" y="0"/>
                </a:lnTo>
                <a:lnTo>
                  <a:pt x="1580" y="0"/>
                </a:lnTo>
                <a:lnTo>
                  <a:pt x="1564" y="1"/>
                </a:lnTo>
                <a:lnTo>
                  <a:pt x="1548" y="2"/>
                </a:lnTo>
                <a:lnTo>
                  <a:pt x="1535" y="5"/>
                </a:lnTo>
                <a:lnTo>
                  <a:pt x="1521" y="8"/>
                </a:lnTo>
                <a:lnTo>
                  <a:pt x="1511" y="12"/>
                </a:lnTo>
                <a:lnTo>
                  <a:pt x="1500" y="17"/>
                </a:lnTo>
                <a:lnTo>
                  <a:pt x="1491" y="23"/>
                </a:lnTo>
                <a:lnTo>
                  <a:pt x="1484" y="29"/>
                </a:lnTo>
                <a:lnTo>
                  <a:pt x="1477" y="36"/>
                </a:lnTo>
                <a:lnTo>
                  <a:pt x="1477" y="36"/>
                </a:lnTo>
                <a:lnTo>
                  <a:pt x="1253" y="331"/>
                </a:lnTo>
                <a:lnTo>
                  <a:pt x="785" y="948"/>
                </a:lnTo>
                <a:lnTo>
                  <a:pt x="532" y="1283"/>
                </a:lnTo>
                <a:lnTo>
                  <a:pt x="304" y="1584"/>
                </a:lnTo>
                <a:lnTo>
                  <a:pt x="134" y="1813"/>
                </a:lnTo>
                <a:lnTo>
                  <a:pt x="78" y="1890"/>
                </a:lnTo>
                <a:lnTo>
                  <a:pt x="48" y="1933"/>
                </a:lnTo>
                <a:lnTo>
                  <a:pt x="48" y="1933"/>
                </a:lnTo>
                <a:lnTo>
                  <a:pt x="43" y="1943"/>
                </a:lnTo>
                <a:lnTo>
                  <a:pt x="38" y="1956"/>
                </a:lnTo>
                <a:lnTo>
                  <a:pt x="33" y="1974"/>
                </a:lnTo>
                <a:lnTo>
                  <a:pt x="30" y="1995"/>
                </a:lnTo>
                <a:lnTo>
                  <a:pt x="23" y="2047"/>
                </a:lnTo>
                <a:lnTo>
                  <a:pt x="15" y="2110"/>
                </a:lnTo>
                <a:lnTo>
                  <a:pt x="10" y="2181"/>
                </a:lnTo>
                <a:lnTo>
                  <a:pt x="6" y="2259"/>
                </a:lnTo>
                <a:lnTo>
                  <a:pt x="3" y="2340"/>
                </a:lnTo>
                <a:lnTo>
                  <a:pt x="1" y="2423"/>
                </a:lnTo>
                <a:lnTo>
                  <a:pt x="0" y="2507"/>
                </a:lnTo>
                <a:lnTo>
                  <a:pt x="1" y="2588"/>
                </a:lnTo>
                <a:lnTo>
                  <a:pt x="3" y="2663"/>
                </a:lnTo>
                <a:lnTo>
                  <a:pt x="7" y="2732"/>
                </a:lnTo>
                <a:lnTo>
                  <a:pt x="12" y="2790"/>
                </a:lnTo>
                <a:lnTo>
                  <a:pt x="15" y="2815"/>
                </a:lnTo>
                <a:lnTo>
                  <a:pt x="19" y="2837"/>
                </a:lnTo>
                <a:lnTo>
                  <a:pt x="23" y="2856"/>
                </a:lnTo>
                <a:lnTo>
                  <a:pt x="27" y="2871"/>
                </a:lnTo>
                <a:lnTo>
                  <a:pt x="32" y="2882"/>
                </a:lnTo>
                <a:lnTo>
                  <a:pt x="35" y="2885"/>
                </a:lnTo>
                <a:lnTo>
                  <a:pt x="37" y="2888"/>
                </a:lnTo>
                <a:lnTo>
                  <a:pt x="37" y="2888"/>
                </a:lnTo>
                <a:lnTo>
                  <a:pt x="42" y="2891"/>
                </a:lnTo>
                <a:lnTo>
                  <a:pt x="47" y="2893"/>
                </a:lnTo>
                <a:lnTo>
                  <a:pt x="60" y="2896"/>
                </a:lnTo>
                <a:lnTo>
                  <a:pt x="76" y="2897"/>
                </a:lnTo>
                <a:lnTo>
                  <a:pt x="95" y="2897"/>
                </a:lnTo>
                <a:lnTo>
                  <a:pt x="118" y="2896"/>
                </a:lnTo>
                <a:lnTo>
                  <a:pt x="144" y="2893"/>
                </a:lnTo>
                <a:lnTo>
                  <a:pt x="171" y="2888"/>
                </a:lnTo>
                <a:lnTo>
                  <a:pt x="202" y="2883"/>
                </a:lnTo>
                <a:lnTo>
                  <a:pt x="267" y="2868"/>
                </a:lnTo>
                <a:lnTo>
                  <a:pt x="340" y="2850"/>
                </a:lnTo>
                <a:lnTo>
                  <a:pt x="416" y="2829"/>
                </a:lnTo>
                <a:lnTo>
                  <a:pt x="494" y="2804"/>
                </a:lnTo>
                <a:lnTo>
                  <a:pt x="573" y="2778"/>
                </a:lnTo>
                <a:lnTo>
                  <a:pt x="650" y="2751"/>
                </a:lnTo>
                <a:lnTo>
                  <a:pt x="724" y="2722"/>
                </a:lnTo>
                <a:lnTo>
                  <a:pt x="793" y="2694"/>
                </a:lnTo>
                <a:lnTo>
                  <a:pt x="854" y="2666"/>
                </a:lnTo>
                <a:lnTo>
                  <a:pt x="880" y="2653"/>
                </a:lnTo>
                <a:lnTo>
                  <a:pt x="904" y="2641"/>
                </a:lnTo>
                <a:lnTo>
                  <a:pt x="926" y="2628"/>
                </a:lnTo>
                <a:lnTo>
                  <a:pt x="946" y="2617"/>
                </a:lnTo>
                <a:lnTo>
                  <a:pt x="960" y="2605"/>
                </a:lnTo>
                <a:lnTo>
                  <a:pt x="972" y="2595"/>
                </a:lnTo>
                <a:lnTo>
                  <a:pt x="972" y="2595"/>
                </a:lnTo>
                <a:lnTo>
                  <a:pt x="987" y="2578"/>
                </a:lnTo>
                <a:lnTo>
                  <a:pt x="1007" y="2554"/>
                </a:lnTo>
                <a:lnTo>
                  <a:pt x="1064" y="2480"/>
                </a:lnTo>
                <a:lnTo>
                  <a:pt x="1142" y="2380"/>
                </a:lnTo>
                <a:lnTo>
                  <a:pt x="1234" y="2257"/>
                </a:lnTo>
                <a:lnTo>
                  <a:pt x="1454" y="1961"/>
                </a:lnTo>
                <a:lnTo>
                  <a:pt x="1697" y="1630"/>
                </a:lnTo>
                <a:lnTo>
                  <a:pt x="1939" y="1298"/>
                </a:lnTo>
                <a:lnTo>
                  <a:pt x="2153" y="1004"/>
                </a:lnTo>
                <a:lnTo>
                  <a:pt x="2311" y="784"/>
                </a:lnTo>
                <a:lnTo>
                  <a:pt x="2390" y="675"/>
                </a:lnTo>
                <a:lnTo>
                  <a:pt x="2390" y="675"/>
                </a:lnTo>
                <a:lnTo>
                  <a:pt x="2395" y="665"/>
                </a:lnTo>
                <a:lnTo>
                  <a:pt x="2400" y="654"/>
                </a:lnTo>
                <a:lnTo>
                  <a:pt x="2402" y="643"/>
                </a:lnTo>
                <a:lnTo>
                  <a:pt x="2403" y="631"/>
                </a:lnTo>
                <a:lnTo>
                  <a:pt x="2403" y="618"/>
                </a:lnTo>
                <a:lnTo>
                  <a:pt x="2403" y="605"/>
                </a:lnTo>
                <a:lnTo>
                  <a:pt x="2401" y="591"/>
                </a:lnTo>
                <a:lnTo>
                  <a:pt x="2397" y="577"/>
                </a:lnTo>
                <a:lnTo>
                  <a:pt x="2392" y="562"/>
                </a:lnTo>
                <a:lnTo>
                  <a:pt x="2386" y="547"/>
                </a:lnTo>
                <a:lnTo>
                  <a:pt x="2380" y="531"/>
                </a:lnTo>
                <a:lnTo>
                  <a:pt x="2373" y="514"/>
                </a:lnTo>
                <a:lnTo>
                  <a:pt x="2355" y="481"/>
                </a:lnTo>
                <a:lnTo>
                  <a:pt x="2334" y="447"/>
                </a:lnTo>
                <a:lnTo>
                  <a:pt x="2310" y="412"/>
                </a:lnTo>
                <a:lnTo>
                  <a:pt x="2284" y="378"/>
                </a:lnTo>
                <a:lnTo>
                  <a:pt x="2255" y="345"/>
                </a:lnTo>
                <a:lnTo>
                  <a:pt x="2226" y="311"/>
                </a:lnTo>
                <a:lnTo>
                  <a:pt x="2193" y="279"/>
                </a:lnTo>
                <a:lnTo>
                  <a:pt x="2161" y="248"/>
                </a:lnTo>
                <a:lnTo>
                  <a:pt x="2128" y="220"/>
                </a:lnTo>
                <a:lnTo>
                  <a:pt x="2095" y="193"/>
                </a:lnTo>
                <a:lnTo>
                  <a:pt x="2095" y="193"/>
                </a:lnTo>
                <a:close/>
                <a:moveTo>
                  <a:pt x="1398" y="308"/>
                </a:moveTo>
                <a:lnTo>
                  <a:pt x="1398" y="308"/>
                </a:lnTo>
                <a:lnTo>
                  <a:pt x="1400" y="306"/>
                </a:lnTo>
                <a:lnTo>
                  <a:pt x="1405" y="300"/>
                </a:lnTo>
                <a:lnTo>
                  <a:pt x="1415" y="294"/>
                </a:lnTo>
                <a:lnTo>
                  <a:pt x="1421" y="290"/>
                </a:lnTo>
                <a:lnTo>
                  <a:pt x="1428" y="288"/>
                </a:lnTo>
                <a:lnTo>
                  <a:pt x="1437" y="285"/>
                </a:lnTo>
                <a:lnTo>
                  <a:pt x="1445" y="284"/>
                </a:lnTo>
                <a:lnTo>
                  <a:pt x="1456" y="284"/>
                </a:lnTo>
                <a:lnTo>
                  <a:pt x="1468" y="287"/>
                </a:lnTo>
                <a:lnTo>
                  <a:pt x="1482" y="290"/>
                </a:lnTo>
                <a:lnTo>
                  <a:pt x="1495" y="295"/>
                </a:lnTo>
                <a:lnTo>
                  <a:pt x="1511" y="303"/>
                </a:lnTo>
                <a:lnTo>
                  <a:pt x="1528" y="313"/>
                </a:lnTo>
                <a:lnTo>
                  <a:pt x="1528" y="313"/>
                </a:lnTo>
                <a:lnTo>
                  <a:pt x="1542" y="325"/>
                </a:lnTo>
                <a:lnTo>
                  <a:pt x="1555" y="336"/>
                </a:lnTo>
                <a:lnTo>
                  <a:pt x="1565" y="347"/>
                </a:lnTo>
                <a:lnTo>
                  <a:pt x="1573" y="357"/>
                </a:lnTo>
                <a:lnTo>
                  <a:pt x="1580" y="368"/>
                </a:lnTo>
                <a:lnTo>
                  <a:pt x="1583" y="376"/>
                </a:lnTo>
                <a:lnTo>
                  <a:pt x="1586" y="386"/>
                </a:lnTo>
                <a:lnTo>
                  <a:pt x="1587" y="394"/>
                </a:lnTo>
                <a:lnTo>
                  <a:pt x="1588" y="401"/>
                </a:lnTo>
                <a:lnTo>
                  <a:pt x="1587" y="409"/>
                </a:lnTo>
                <a:lnTo>
                  <a:pt x="1584" y="420"/>
                </a:lnTo>
                <a:lnTo>
                  <a:pt x="1582" y="427"/>
                </a:lnTo>
                <a:lnTo>
                  <a:pt x="1581" y="429"/>
                </a:lnTo>
                <a:lnTo>
                  <a:pt x="337" y="2076"/>
                </a:lnTo>
                <a:lnTo>
                  <a:pt x="337" y="1902"/>
                </a:lnTo>
                <a:lnTo>
                  <a:pt x="239" y="1865"/>
                </a:lnTo>
                <a:lnTo>
                  <a:pt x="1398" y="308"/>
                </a:lnTo>
                <a:close/>
                <a:moveTo>
                  <a:pt x="475" y="2657"/>
                </a:moveTo>
                <a:lnTo>
                  <a:pt x="475" y="2657"/>
                </a:lnTo>
                <a:lnTo>
                  <a:pt x="473" y="2660"/>
                </a:lnTo>
                <a:lnTo>
                  <a:pt x="469" y="2664"/>
                </a:lnTo>
                <a:lnTo>
                  <a:pt x="456" y="2671"/>
                </a:lnTo>
                <a:lnTo>
                  <a:pt x="439" y="2680"/>
                </a:lnTo>
                <a:lnTo>
                  <a:pt x="417" y="2689"/>
                </a:lnTo>
                <a:lnTo>
                  <a:pt x="364" y="2709"/>
                </a:lnTo>
                <a:lnTo>
                  <a:pt x="304" y="2729"/>
                </a:lnTo>
                <a:lnTo>
                  <a:pt x="244" y="2746"/>
                </a:lnTo>
                <a:lnTo>
                  <a:pt x="216" y="2754"/>
                </a:lnTo>
                <a:lnTo>
                  <a:pt x="191" y="2760"/>
                </a:lnTo>
                <a:lnTo>
                  <a:pt x="169" y="2764"/>
                </a:lnTo>
                <a:lnTo>
                  <a:pt x="152" y="2767"/>
                </a:lnTo>
                <a:lnTo>
                  <a:pt x="140" y="2767"/>
                </a:lnTo>
                <a:lnTo>
                  <a:pt x="135" y="2766"/>
                </a:lnTo>
                <a:lnTo>
                  <a:pt x="134" y="2763"/>
                </a:lnTo>
                <a:lnTo>
                  <a:pt x="134" y="2763"/>
                </a:lnTo>
                <a:lnTo>
                  <a:pt x="130" y="2756"/>
                </a:lnTo>
                <a:lnTo>
                  <a:pt x="129" y="2743"/>
                </a:lnTo>
                <a:lnTo>
                  <a:pt x="127" y="2723"/>
                </a:lnTo>
                <a:lnTo>
                  <a:pt x="127" y="2700"/>
                </a:lnTo>
                <a:lnTo>
                  <a:pt x="125" y="2643"/>
                </a:lnTo>
                <a:lnTo>
                  <a:pt x="127" y="2581"/>
                </a:lnTo>
                <a:lnTo>
                  <a:pt x="129" y="2518"/>
                </a:lnTo>
                <a:lnTo>
                  <a:pt x="133" y="2462"/>
                </a:lnTo>
                <a:lnTo>
                  <a:pt x="135" y="2440"/>
                </a:lnTo>
                <a:lnTo>
                  <a:pt x="137" y="2423"/>
                </a:lnTo>
                <a:lnTo>
                  <a:pt x="140" y="2411"/>
                </a:lnTo>
                <a:lnTo>
                  <a:pt x="141" y="2407"/>
                </a:lnTo>
                <a:lnTo>
                  <a:pt x="142" y="2406"/>
                </a:lnTo>
                <a:lnTo>
                  <a:pt x="142" y="2406"/>
                </a:lnTo>
                <a:lnTo>
                  <a:pt x="151" y="2404"/>
                </a:lnTo>
                <a:lnTo>
                  <a:pt x="159" y="2403"/>
                </a:lnTo>
                <a:lnTo>
                  <a:pt x="170" y="2403"/>
                </a:lnTo>
                <a:lnTo>
                  <a:pt x="181" y="2404"/>
                </a:lnTo>
                <a:lnTo>
                  <a:pt x="193" y="2406"/>
                </a:lnTo>
                <a:lnTo>
                  <a:pt x="206" y="2409"/>
                </a:lnTo>
                <a:lnTo>
                  <a:pt x="234" y="2418"/>
                </a:lnTo>
                <a:lnTo>
                  <a:pt x="263" y="2432"/>
                </a:lnTo>
                <a:lnTo>
                  <a:pt x="295" y="2447"/>
                </a:lnTo>
                <a:lnTo>
                  <a:pt x="325" y="2466"/>
                </a:lnTo>
                <a:lnTo>
                  <a:pt x="355" y="2486"/>
                </a:lnTo>
                <a:lnTo>
                  <a:pt x="384" y="2508"/>
                </a:lnTo>
                <a:lnTo>
                  <a:pt x="411" y="2531"/>
                </a:lnTo>
                <a:lnTo>
                  <a:pt x="435" y="2554"/>
                </a:lnTo>
                <a:lnTo>
                  <a:pt x="445" y="2565"/>
                </a:lnTo>
                <a:lnTo>
                  <a:pt x="454" y="2577"/>
                </a:lnTo>
                <a:lnTo>
                  <a:pt x="462" y="2588"/>
                </a:lnTo>
                <a:lnTo>
                  <a:pt x="469" y="2599"/>
                </a:lnTo>
                <a:lnTo>
                  <a:pt x="474" y="2610"/>
                </a:lnTo>
                <a:lnTo>
                  <a:pt x="477" y="2620"/>
                </a:lnTo>
                <a:lnTo>
                  <a:pt x="480" y="2630"/>
                </a:lnTo>
                <a:lnTo>
                  <a:pt x="480" y="2640"/>
                </a:lnTo>
                <a:lnTo>
                  <a:pt x="479" y="2649"/>
                </a:lnTo>
                <a:lnTo>
                  <a:pt x="475" y="2657"/>
                </a:lnTo>
                <a:lnTo>
                  <a:pt x="475" y="2657"/>
                </a:lnTo>
                <a:close/>
                <a:moveTo>
                  <a:pt x="490" y="2117"/>
                </a:moveTo>
                <a:lnTo>
                  <a:pt x="1692" y="455"/>
                </a:lnTo>
                <a:lnTo>
                  <a:pt x="1692" y="455"/>
                </a:lnTo>
                <a:lnTo>
                  <a:pt x="1694" y="453"/>
                </a:lnTo>
                <a:lnTo>
                  <a:pt x="1699" y="450"/>
                </a:lnTo>
                <a:lnTo>
                  <a:pt x="1708" y="446"/>
                </a:lnTo>
                <a:lnTo>
                  <a:pt x="1713" y="444"/>
                </a:lnTo>
                <a:lnTo>
                  <a:pt x="1720" y="443"/>
                </a:lnTo>
                <a:lnTo>
                  <a:pt x="1728" y="443"/>
                </a:lnTo>
                <a:lnTo>
                  <a:pt x="1737" y="444"/>
                </a:lnTo>
                <a:lnTo>
                  <a:pt x="1748" y="445"/>
                </a:lnTo>
                <a:lnTo>
                  <a:pt x="1760" y="449"/>
                </a:lnTo>
                <a:lnTo>
                  <a:pt x="1773" y="452"/>
                </a:lnTo>
                <a:lnTo>
                  <a:pt x="1788" y="460"/>
                </a:lnTo>
                <a:lnTo>
                  <a:pt x="1803" y="468"/>
                </a:lnTo>
                <a:lnTo>
                  <a:pt x="1821" y="478"/>
                </a:lnTo>
                <a:lnTo>
                  <a:pt x="1821" y="478"/>
                </a:lnTo>
                <a:lnTo>
                  <a:pt x="1836" y="489"/>
                </a:lnTo>
                <a:lnTo>
                  <a:pt x="1849" y="499"/>
                </a:lnTo>
                <a:lnTo>
                  <a:pt x="1859" y="509"/>
                </a:lnTo>
                <a:lnTo>
                  <a:pt x="1867" y="520"/>
                </a:lnTo>
                <a:lnTo>
                  <a:pt x="1875" y="530"/>
                </a:lnTo>
                <a:lnTo>
                  <a:pt x="1880" y="539"/>
                </a:lnTo>
                <a:lnTo>
                  <a:pt x="1883" y="549"/>
                </a:lnTo>
                <a:lnTo>
                  <a:pt x="1887" y="558"/>
                </a:lnTo>
                <a:lnTo>
                  <a:pt x="1888" y="565"/>
                </a:lnTo>
                <a:lnTo>
                  <a:pt x="1888" y="572"/>
                </a:lnTo>
                <a:lnTo>
                  <a:pt x="1888" y="584"/>
                </a:lnTo>
                <a:lnTo>
                  <a:pt x="1887" y="591"/>
                </a:lnTo>
                <a:lnTo>
                  <a:pt x="1886" y="594"/>
                </a:lnTo>
                <a:lnTo>
                  <a:pt x="624" y="2291"/>
                </a:lnTo>
                <a:lnTo>
                  <a:pt x="624" y="2094"/>
                </a:lnTo>
                <a:lnTo>
                  <a:pt x="490" y="2117"/>
                </a:lnTo>
                <a:close/>
                <a:moveTo>
                  <a:pt x="2117" y="835"/>
                </a:moveTo>
                <a:lnTo>
                  <a:pt x="937" y="2462"/>
                </a:lnTo>
                <a:lnTo>
                  <a:pt x="902" y="2386"/>
                </a:lnTo>
                <a:lnTo>
                  <a:pt x="750" y="2359"/>
                </a:lnTo>
                <a:lnTo>
                  <a:pt x="1973" y="677"/>
                </a:lnTo>
                <a:lnTo>
                  <a:pt x="1973" y="677"/>
                </a:lnTo>
                <a:lnTo>
                  <a:pt x="1975" y="676"/>
                </a:lnTo>
                <a:lnTo>
                  <a:pt x="1979" y="672"/>
                </a:lnTo>
                <a:lnTo>
                  <a:pt x="1987" y="669"/>
                </a:lnTo>
                <a:lnTo>
                  <a:pt x="1992" y="669"/>
                </a:lnTo>
                <a:lnTo>
                  <a:pt x="1998" y="668"/>
                </a:lnTo>
                <a:lnTo>
                  <a:pt x="2005" y="669"/>
                </a:lnTo>
                <a:lnTo>
                  <a:pt x="2014" y="670"/>
                </a:lnTo>
                <a:lnTo>
                  <a:pt x="2022" y="674"/>
                </a:lnTo>
                <a:lnTo>
                  <a:pt x="2032" y="679"/>
                </a:lnTo>
                <a:lnTo>
                  <a:pt x="2043" y="685"/>
                </a:lnTo>
                <a:lnTo>
                  <a:pt x="2055" y="693"/>
                </a:lnTo>
                <a:lnTo>
                  <a:pt x="2067" y="704"/>
                </a:lnTo>
                <a:lnTo>
                  <a:pt x="2080" y="718"/>
                </a:lnTo>
                <a:lnTo>
                  <a:pt x="2080" y="718"/>
                </a:lnTo>
                <a:lnTo>
                  <a:pt x="2091" y="731"/>
                </a:lnTo>
                <a:lnTo>
                  <a:pt x="2101" y="741"/>
                </a:lnTo>
                <a:lnTo>
                  <a:pt x="2108" y="754"/>
                </a:lnTo>
                <a:lnTo>
                  <a:pt x="2113" y="764"/>
                </a:lnTo>
                <a:lnTo>
                  <a:pt x="2118" y="774"/>
                </a:lnTo>
                <a:lnTo>
                  <a:pt x="2120" y="784"/>
                </a:lnTo>
                <a:lnTo>
                  <a:pt x="2121" y="793"/>
                </a:lnTo>
                <a:lnTo>
                  <a:pt x="2123" y="801"/>
                </a:lnTo>
                <a:lnTo>
                  <a:pt x="2121" y="815"/>
                </a:lnTo>
                <a:lnTo>
                  <a:pt x="2120" y="826"/>
                </a:lnTo>
                <a:lnTo>
                  <a:pt x="2118" y="832"/>
                </a:lnTo>
                <a:lnTo>
                  <a:pt x="2117" y="835"/>
                </a:lnTo>
                <a:lnTo>
                  <a:pt x="2117" y="83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0" name="그룹 29"/>
          <p:cNvGrpSpPr/>
          <p:nvPr/>
        </p:nvGrpSpPr>
        <p:grpSpPr>
          <a:xfrm>
            <a:off x="229863" y="3449290"/>
            <a:ext cx="4262887" cy="2406998"/>
            <a:chOff x="414213" y="3449290"/>
            <a:chExt cx="3848674" cy="2406998"/>
          </a:xfrm>
        </p:grpSpPr>
        <p:pic>
          <p:nvPicPr>
            <p:cNvPr id="42" name="Picture 9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4213" y="5225944"/>
              <a:ext cx="3848674" cy="6303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43" name="Group 6"/>
            <p:cNvGrpSpPr>
              <a:grpSpLocks/>
            </p:cNvGrpSpPr>
            <p:nvPr/>
          </p:nvGrpSpPr>
          <p:grpSpPr bwMode="auto">
            <a:xfrm>
              <a:off x="937206" y="3449290"/>
              <a:ext cx="2970323" cy="2071494"/>
              <a:chOff x="0" y="0"/>
              <a:chExt cx="4288" cy="2445"/>
            </a:xfrm>
          </p:grpSpPr>
          <p:sp>
            <p:nvSpPr>
              <p:cNvPr id="60" name="Freeform 7"/>
              <p:cNvSpPr>
                <a:spLocks/>
              </p:cNvSpPr>
              <p:nvPr/>
            </p:nvSpPr>
            <p:spPr bwMode="auto">
              <a:xfrm>
                <a:off x="0" y="978"/>
                <a:ext cx="3785" cy="90"/>
              </a:xfrm>
              <a:custGeom>
                <a:avLst/>
                <a:gdLst>
                  <a:gd name="T0" fmla="*/ 0 w 3785"/>
                  <a:gd name="T1" fmla="*/ 0 h 90"/>
                  <a:gd name="T2" fmla="*/ 90 w 3785"/>
                  <a:gd name="T3" fmla="*/ 90 h 90"/>
                  <a:gd name="T4" fmla="*/ 3785 w 3785"/>
                  <a:gd name="T5" fmla="*/ 90 h 90"/>
                  <a:gd name="T6" fmla="*/ 3695 w 3785"/>
                  <a:gd name="T7" fmla="*/ 0 h 90"/>
                  <a:gd name="T8" fmla="*/ 0 w 3785"/>
                  <a:gd name="T9" fmla="*/ 0 h 90"/>
                  <a:gd name="T10" fmla="*/ 0 w 3785"/>
                  <a:gd name="T11" fmla="*/ 0 h 90"/>
                  <a:gd name="T12" fmla="*/ 3785 w 3785"/>
                  <a:gd name="T13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T10" t="T11" r="T12" b="T13"/>
                <a:pathLst>
                  <a:path w="3785" h="90">
                    <a:moveTo>
                      <a:pt x="0" y="0"/>
                    </a:moveTo>
                    <a:lnTo>
                      <a:pt x="90" y="90"/>
                    </a:lnTo>
                    <a:lnTo>
                      <a:pt x="3785" y="90"/>
                    </a:lnTo>
                    <a:lnTo>
                      <a:pt x="369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9C9C9"/>
              </a:solidFill>
              <a:ln w="4826" cmpd="sng">
                <a:solidFill>
                  <a:srgbClr val="AEAEAE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5pPr>
                <a:lvl6pPr marL="22860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6pPr>
                <a:lvl7pPr marL="27432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7pPr>
                <a:lvl8pPr marL="32004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8pPr>
                <a:lvl9pPr marL="36576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9pPr>
              </a:lstStyle>
              <a:p>
                <a:endParaRPr lang="ko-KR" altLang="en-US"/>
              </a:p>
            </p:txBody>
          </p:sp>
          <p:sp>
            <p:nvSpPr>
              <p:cNvPr id="61" name="Freeform 8"/>
              <p:cNvSpPr>
                <a:spLocks/>
              </p:cNvSpPr>
              <p:nvPr/>
            </p:nvSpPr>
            <p:spPr bwMode="auto">
              <a:xfrm>
                <a:off x="0" y="978"/>
                <a:ext cx="90" cy="477"/>
              </a:xfrm>
              <a:custGeom>
                <a:avLst/>
                <a:gdLst>
                  <a:gd name="T0" fmla="*/ 90 w 90"/>
                  <a:gd name="T1" fmla="*/ 90 h 477"/>
                  <a:gd name="T2" fmla="*/ 90 w 90"/>
                  <a:gd name="T3" fmla="*/ 477 h 477"/>
                  <a:gd name="T4" fmla="*/ 5 w 90"/>
                  <a:gd name="T5" fmla="*/ 392 h 477"/>
                  <a:gd name="T6" fmla="*/ 0 w 90"/>
                  <a:gd name="T7" fmla="*/ 0 h 477"/>
                  <a:gd name="T8" fmla="*/ 90 w 90"/>
                  <a:gd name="T9" fmla="*/ 90 h 477"/>
                  <a:gd name="T10" fmla="*/ 0 w 90"/>
                  <a:gd name="T11" fmla="*/ 0 h 477"/>
                  <a:gd name="T12" fmla="*/ 90 w 90"/>
                  <a:gd name="T13" fmla="*/ 477 h 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T10" t="T11" r="T12" b="T13"/>
                <a:pathLst>
                  <a:path w="90" h="477">
                    <a:moveTo>
                      <a:pt x="90" y="90"/>
                    </a:moveTo>
                    <a:lnTo>
                      <a:pt x="90" y="477"/>
                    </a:lnTo>
                    <a:lnTo>
                      <a:pt x="5" y="392"/>
                    </a:lnTo>
                    <a:lnTo>
                      <a:pt x="0" y="0"/>
                    </a:lnTo>
                    <a:lnTo>
                      <a:pt x="90" y="90"/>
                    </a:lnTo>
                    <a:close/>
                  </a:path>
                </a:pathLst>
              </a:custGeom>
              <a:solidFill>
                <a:srgbClr val="969696"/>
              </a:solidFill>
              <a:ln w="4826" cmpd="sng">
                <a:solidFill>
                  <a:srgbClr val="AEAEAE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5pPr>
                <a:lvl6pPr marL="22860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6pPr>
                <a:lvl7pPr marL="27432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7pPr>
                <a:lvl8pPr marL="32004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8pPr>
                <a:lvl9pPr marL="36576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9pPr>
              </a:lstStyle>
              <a:p>
                <a:endParaRPr lang="ko-KR" altLang="en-US"/>
              </a:p>
            </p:txBody>
          </p:sp>
          <p:sp>
            <p:nvSpPr>
              <p:cNvPr id="62" name="Freeform 9"/>
              <p:cNvSpPr>
                <a:spLocks/>
              </p:cNvSpPr>
              <p:nvPr/>
            </p:nvSpPr>
            <p:spPr bwMode="auto">
              <a:xfrm>
                <a:off x="88" y="97"/>
                <a:ext cx="4200" cy="2348"/>
              </a:xfrm>
              <a:custGeom>
                <a:avLst/>
                <a:gdLst>
                  <a:gd name="T0" fmla="*/ 0 w 4200"/>
                  <a:gd name="T1" fmla="*/ 1360 h 2348"/>
                  <a:gd name="T2" fmla="*/ 3709 w 4200"/>
                  <a:gd name="T3" fmla="*/ 1360 h 2348"/>
                  <a:gd name="T4" fmla="*/ 3208 w 4200"/>
                  <a:gd name="T5" fmla="*/ 2348 h 2348"/>
                  <a:gd name="T6" fmla="*/ 3576 w 4200"/>
                  <a:gd name="T7" fmla="*/ 2348 h 2348"/>
                  <a:gd name="T8" fmla="*/ 4200 w 4200"/>
                  <a:gd name="T9" fmla="*/ 1181 h 2348"/>
                  <a:gd name="T10" fmla="*/ 3576 w 4200"/>
                  <a:gd name="T11" fmla="*/ 0 h 2348"/>
                  <a:gd name="T12" fmla="*/ 3161 w 4200"/>
                  <a:gd name="T13" fmla="*/ 0 h 2348"/>
                  <a:gd name="T14" fmla="*/ 3695 w 4200"/>
                  <a:gd name="T15" fmla="*/ 973 h 2348"/>
                  <a:gd name="T16" fmla="*/ 0 w 4200"/>
                  <a:gd name="T17" fmla="*/ 973 h 2348"/>
                  <a:gd name="T18" fmla="*/ 0 w 4200"/>
                  <a:gd name="T19" fmla="*/ 1360 h 2348"/>
                  <a:gd name="T20" fmla="*/ 0 w 4200"/>
                  <a:gd name="T21" fmla="*/ 0 h 2348"/>
                  <a:gd name="T22" fmla="*/ 4200 w 4200"/>
                  <a:gd name="T23" fmla="*/ 2348 h 2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T20" t="T21" r="T22" b="T23"/>
                <a:pathLst>
                  <a:path w="4200" h="2348">
                    <a:moveTo>
                      <a:pt x="0" y="1360"/>
                    </a:moveTo>
                    <a:lnTo>
                      <a:pt x="3709" y="1360"/>
                    </a:lnTo>
                    <a:lnTo>
                      <a:pt x="3208" y="2348"/>
                    </a:lnTo>
                    <a:lnTo>
                      <a:pt x="3576" y="2348"/>
                    </a:lnTo>
                    <a:lnTo>
                      <a:pt x="4200" y="1181"/>
                    </a:lnTo>
                    <a:lnTo>
                      <a:pt x="3576" y="0"/>
                    </a:lnTo>
                    <a:lnTo>
                      <a:pt x="3161" y="0"/>
                    </a:lnTo>
                    <a:lnTo>
                      <a:pt x="3695" y="973"/>
                    </a:lnTo>
                    <a:lnTo>
                      <a:pt x="0" y="973"/>
                    </a:lnTo>
                    <a:lnTo>
                      <a:pt x="0" y="1360"/>
                    </a:lnTo>
                    <a:close/>
                  </a:path>
                </a:pathLst>
              </a:custGeom>
              <a:solidFill>
                <a:srgbClr val="C0C0C0"/>
              </a:solidFill>
              <a:ln w="4826" cmpd="sng">
                <a:solidFill>
                  <a:srgbClr val="AEAEAE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5pPr>
                <a:lvl6pPr marL="22860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6pPr>
                <a:lvl7pPr marL="27432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7pPr>
                <a:lvl8pPr marL="32004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8pPr>
                <a:lvl9pPr marL="36576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9pPr>
              </a:lstStyle>
              <a:p>
                <a:endParaRPr lang="ko-KR" altLang="en-US"/>
              </a:p>
            </p:txBody>
          </p:sp>
          <p:sp>
            <p:nvSpPr>
              <p:cNvPr id="63" name="Freeform 10"/>
              <p:cNvSpPr>
                <a:spLocks/>
              </p:cNvSpPr>
              <p:nvPr/>
            </p:nvSpPr>
            <p:spPr bwMode="auto">
              <a:xfrm>
                <a:off x="3156" y="0"/>
                <a:ext cx="510" cy="95"/>
              </a:xfrm>
              <a:custGeom>
                <a:avLst/>
                <a:gdLst>
                  <a:gd name="T0" fmla="*/ 95 w 510"/>
                  <a:gd name="T1" fmla="*/ 95 h 95"/>
                  <a:gd name="T2" fmla="*/ 0 w 510"/>
                  <a:gd name="T3" fmla="*/ 0 h 95"/>
                  <a:gd name="T4" fmla="*/ 435 w 510"/>
                  <a:gd name="T5" fmla="*/ 0 h 95"/>
                  <a:gd name="T6" fmla="*/ 510 w 510"/>
                  <a:gd name="T7" fmla="*/ 95 h 95"/>
                  <a:gd name="T8" fmla="*/ 95 w 510"/>
                  <a:gd name="T9" fmla="*/ 95 h 95"/>
                  <a:gd name="T10" fmla="*/ 0 w 510"/>
                  <a:gd name="T11" fmla="*/ 0 h 95"/>
                  <a:gd name="T12" fmla="*/ 510 w 510"/>
                  <a:gd name="T13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T10" t="T11" r="T12" b="T13"/>
                <a:pathLst>
                  <a:path w="510" h="95">
                    <a:moveTo>
                      <a:pt x="95" y="95"/>
                    </a:moveTo>
                    <a:lnTo>
                      <a:pt x="0" y="0"/>
                    </a:lnTo>
                    <a:lnTo>
                      <a:pt x="435" y="0"/>
                    </a:lnTo>
                    <a:lnTo>
                      <a:pt x="510" y="95"/>
                    </a:lnTo>
                    <a:lnTo>
                      <a:pt x="95" y="95"/>
                    </a:lnTo>
                    <a:close/>
                  </a:path>
                </a:pathLst>
              </a:custGeom>
              <a:solidFill>
                <a:srgbClr val="C9C9C9"/>
              </a:solidFill>
              <a:ln w="4826" cmpd="sng">
                <a:solidFill>
                  <a:srgbClr val="AEAEAE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5pPr>
                <a:lvl6pPr marL="22860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6pPr>
                <a:lvl7pPr marL="27432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7pPr>
                <a:lvl8pPr marL="32004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8pPr>
                <a:lvl9pPr marL="36576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9pPr>
              </a:lstStyle>
              <a:p>
                <a:endParaRPr lang="ko-KR" altLang="en-US"/>
              </a:p>
            </p:txBody>
          </p:sp>
          <p:sp>
            <p:nvSpPr>
              <p:cNvPr id="64" name="Freeform 11"/>
              <p:cNvSpPr>
                <a:spLocks/>
              </p:cNvSpPr>
              <p:nvPr/>
            </p:nvSpPr>
            <p:spPr bwMode="auto">
              <a:xfrm>
                <a:off x="3206" y="1455"/>
                <a:ext cx="593" cy="988"/>
              </a:xfrm>
              <a:custGeom>
                <a:avLst/>
                <a:gdLst>
                  <a:gd name="T0" fmla="*/ 92 w 593"/>
                  <a:gd name="T1" fmla="*/ 988 h 988"/>
                  <a:gd name="T2" fmla="*/ 0 w 593"/>
                  <a:gd name="T3" fmla="*/ 896 h 988"/>
                  <a:gd name="T4" fmla="*/ 465 w 593"/>
                  <a:gd name="T5" fmla="*/ 0 h 988"/>
                  <a:gd name="T6" fmla="*/ 593 w 593"/>
                  <a:gd name="T7" fmla="*/ 0 h 988"/>
                  <a:gd name="T8" fmla="*/ 92 w 593"/>
                  <a:gd name="T9" fmla="*/ 988 h 988"/>
                  <a:gd name="T10" fmla="*/ 0 w 593"/>
                  <a:gd name="T11" fmla="*/ 0 h 988"/>
                  <a:gd name="T12" fmla="*/ 593 w 593"/>
                  <a:gd name="T13" fmla="*/ 988 h 9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T10" t="T11" r="T12" b="T13"/>
                <a:pathLst>
                  <a:path w="593" h="988">
                    <a:moveTo>
                      <a:pt x="92" y="988"/>
                    </a:moveTo>
                    <a:lnTo>
                      <a:pt x="0" y="896"/>
                    </a:lnTo>
                    <a:lnTo>
                      <a:pt x="465" y="0"/>
                    </a:lnTo>
                    <a:lnTo>
                      <a:pt x="593" y="0"/>
                    </a:lnTo>
                    <a:lnTo>
                      <a:pt x="92" y="988"/>
                    </a:lnTo>
                    <a:close/>
                  </a:path>
                </a:pathLst>
              </a:custGeom>
              <a:solidFill>
                <a:srgbClr val="C9C9C9"/>
              </a:solidFill>
              <a:ln w="4826" cmpd="sng">
                <a:solidFill>
                  <a:srgbClr val="AEAEAE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5pPr>
                <a:lvl6pPr marL="22860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6pPr>
                <a:lvl7pPr marL="27432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7pPr>
                <a:lvl8pPr marL="32004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8pPr>
                <a:lvl9pPr marL="36576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9pPr>
              </a:lstStyle>
              <a:p>
                <a:endParaRPr lang="ko-KR" altLang="en-US"/>
              </a:p>
            </p:txBody>
          </p:sp>
          <p:sp>
            <p:nvSpPr>
              <p:cNvPr id="65" name="Freeform 12"/>
              <p:cNvSpPr>
                <a:spLocks/>
              </p:cNvSpPr>
              <p:nvPr/>
            </p:nvSpPr>
            <p:spPr bwMode="auto">
              <a:xfrm>
                <a:off x="3156" y="0"/>
                <a:ext cx="629" cy="1068"/>
              </a:xfrm>
              <a:custGeom>
                <a:avLst/>
                <a:gdLst>
                  <a:gd name="T0" fmla="*/ 539 w 629"/>
                  <a:gd name="T1" fmla="*/ 978 h 1068"/>
                  <a:gd name="T2" fmla="*/ 0 w 629"/>
                  <a:gd name="T3" fmla="*/ 0 h 1068"/>
                  <a:gd name="T4" fmla="*/ 95 w 629"/>
                  <a:gd name="T5" fmla="*/ 95 h 1068"/>
                  <a:gd name="T6" fmla="*/ 629 w 629"/>
                  <a:gd name="T7" fmla="*/ 1068 h 1068"/>
                  <a:gd name="T8" fmla="*/ 539 w 629"/>
                  <a:gd name="T9" fmla="*/ 978 h 1068"/>
                  <a:gd name="T10" fmla="*/ 0 w 629"/>
                  <a:gd name="T11" fmla="*/ 0 h 1068"/>
                  <a:gd name="T12" fmla="*/ 629 w 629"/>
                  <a:gd name="T13" fmla="*/ 1068 h 10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T10" t="T11" r="T12" b="T13"/>
                <a:pathLst>
                  <a:path w="629" h="1068">
                    <a:moveTo>
                      <a:pt x="539" y="978"/>
                    </a:moveTo>
                    <a:lnTo>
                      <a:pt x="0" y="0"/>
                    </a:lnTo>
                    <a:lnTo>
                      <a:pt x="95" y="95"/>
                    </a:lnTo>
                    <a:lnTo>
                      <a:pt x="629" y="1068"/>
                    </a:lnTo>
                    <a:lnTo>
                      <a:pt x="539" y="978"/>
                    </a:lnTo>
                    <a:close/>
                  </a:path>
                </a:pathLst>
              </a:custGeom>
              <a:solidFill>
                <a:srgbClr val="969696"/>
              </a:solidFill>
              <a:ln w="4826" cmpd="sng">
                <a:solidFill>
                  <a:srgbClr val="AEAEAE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5pPr>
                <a:lvl6pPr marL="22860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6pPr>
                <a:lvl7pPr marL="27432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7pPr>
                <a:lvl8pPr marL="32004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8pPr>
                <a:lvl9pPr marL="36576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9pPr>
              </a:lstStyle>
              <a:p>
                <a:endParaRPr lang="ko-KR" altLang="en-US"/>
              </a:p>
            </p:txBody>
          </p:sp>
        </p:grpSp>
        <p:grpSp>
          <p:nvGrpSpPr>
            <p:cNvPr id="44" name="Group 13"/>
            <p:cNvGrpSpPr>
              <a:grpSpLocks/>
            </p:cNvGrpSpPr>
            <p:nvPr/>
          </p:nvGrpSpPr>
          <p:grpSpPr bwMode="auto">
            <a:xfrm>
              <a:off x="933742" y="4682019"/>
              <a:ext cx="2497205" cy="844695"/>
              <a:chOff x="0" y="0"/>
              <a:chExt cx="3605" cy="997"/>
            </a:xfrm>
          </p:grpSpPr>
          <p:sp>
            <p:nvSpPr>
              <p:cNvPr id="56" name="Freeform 18"/>
              <p:cNvSpPr>
                <a:spLocks/>
              </p:cNvSpPr>
              <p:nvPr/>
            </p:nvSpPr>
            <p:spPr bwMode="auto">
              <a:xfrm>
                <a:off x="0" y="10"/>
                <a:ext cx="98" cy="482"/>
              </a:xfrm>
              <a:custGeom>
                <a:avLst/>
                <a:gdLst>
                  <a:gd name="T0" fmla="*/ 10 w 92"/>
                  <a:gd name="T1" fmla="*/ 0 h 482"/>
                  <a:gd name="T2" fmla="*/ 92 w 92"/>
                  <a:gd name="T3" fmla="*/ 83 h 482"/>
                  <a:gd name="T4" fmla="*/ 90 w 92"/>
                  <a:gd name="T5" fmla="*/ 482 h 482"/>
                  <a:gd name="T6" fmla="*/ 0 w 92"/>
                  <a:gd name="T7" fmla="*/ 392 h 482"/>
                  <a:gd name="T8" fmla="*/ 10 w 92"/>
                  <a:gd name="T9" fmla="*/ 0 h 482"/>
                  <a:gd name="T10" fmla="*/ 0 w 92"/>
                  <a:gd name="T11" fmla="*/ 0 h 482"/>
                  <a:gd name="T12" fmla="*/ 92 w 92"/>
                  <a:gd name="T13" fmla="*/ 482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T10" t="T11" r="T12" b="T13"/>
                <a:pathLst>
                  <a:path w="92" h="482">
                    <a:moveTo>
                      <a:pt x="10" y="0"/>
                    </a:moveTo>
                    <a:lnTo>
                      <a:pt x="92" y="83"/>
                    </a:lnTo>
                    <a:lnTo>
                      <a:pt x="90" y="482"/>
                    </a:lnTo>
                    <a:lnTo>
                      <a:pt x="0" y="392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4C70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5pPr>
                <a:lvl6pPr marL="22860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6pPr>
                <a:lvl7pPr marL="27432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7pPr>
                <a:lvl8pPr marL="32004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8pPr>
                <a:lvl9pPr marL="36576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9pPr>
              </a:lstStyle>
              <a:p>
                <a:endParaRPr lang="ko-KR" altLang="en-US"/>
              </a:p>
            </p:txBody>
          </p:sp>
          <p:sp>
            <p:nvSpPr>
              <p:cNvPr id="57" name="Freeform 19"/>
              <p:cNvSpPr>
                <a:spLocks/>
              </p:cNvSpPr>
              <p:nvPr/>
            </p:nvSpPr>
            <p:spPr bwMode="auto">
              <a:xfrm>
                <a:off x="90" y="93"/>
                <a:ext cx="3515" cy="904"/>
              </a:xfrm>
              <a:custGeom>
                <a:avLst/>
                <a:gdLst>
                  <a:gd name="T0" fmla="*/ 2 w 3515"/>
                  <a:gd name="T1" fmla="*/ 0 h 904"/>
                  <a:gd name="T2" fmla="*/ 3515 w 3515"/>
                  <a:gd name="T3" fmla="*/ 0 h 904"/>
                  <a:gd name="T4" fmla="*/ 3043 w 3515"/>
                  <a:gd name="T5" fmla="*/ 904 h 904"/>
                  <a:gd name="T6" fmla="*/ 2655 w 3515"/>
                  <a:gd name="T7" fmla="*/ 904 h 904"/>
                  <a:gd name="T8" fmla="*/ 2901 w 3515"/>
                  <a:gd name="T9" fmla="*/ 408 h 904"/>
                  <a:gd name="T10" fmla="*/ 0 w 3515"/>
                  <a:gd name="T11" fmla="*/ 399 h 904"/>
                  <a:gd name="T12" fmla="*/ 2 w 3515"/>
                  <a:gd name="T13" fmla="*/ 0 h 904"/>
                  <a:gd name="T14" fmla="*/ 0 w 3515"/>
                  <a:gd name="T15" fmla="*/ 0 h 904"/>
                  <a:gd name="T16" fmla="*/ 3515 w 3515"/>
                  <a:gd name="T17" fmla="*/ 904 h 9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T14" t="T15" r="T16" b="T17"/>
                <a:pathLst>
                  <a:path w="3515" h="904">
                    <a:moveTo>
                      <a:pt x="2" y="0"/>
                    </a:moveTo>
                    <a:lnTo>
                      <a:pt x="3515" y="0"/>
                    </a:lnTo>
                    <a:lnTo>
                      <a:pt x="3043" y="904"/>
                    </a:lnTo>
                    <a:lnTo>
                      <a:pt x="2655" y="904"/>
                    </a:lnTo>
                    <a:lnTo>
                      <a:pt x="2901" y="408"/>
                    </a:lnTo>
                    <a:lnTo>
                      <a:pt x="0" y="399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6B9B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5pPr>
                <a:lvl6pPr marL="22860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6pPr>
                <a:lvl7pPr marL="27432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7pPr>
                <a:lvl8pPr marL="32004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8pPr>
                <a:lvl9pPr marL="36576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9pPr>
              </a:lstStyle>
              <a:p>
                <a:endParaRPr lang="ko-KR" altLang="en-US"/>
              </a:p>
            </p:txBody>
          </p:sp>
          <p:sp>
            <p:nvSpPr>
              <p:cNvPr id="58" name="Freeform 20"/>
              <p:cNvSpPr>
                <a:spLocks/>
              </p:cNvSpPr>
              <p:nvPr/>
            </p:nvSpPr>
            <p:spPr bwMode="auto">
              <a:xfrm>
                <a:off x="10" y="0"/>
                <a:ext cx="3595" cy="93"/>
              </a:xfrm>
              <a:custGeom>
                <a:avLst/>
                <a:gdLst>
                  <a:gd name="T0" fmla="*/ 0 w 3595"/>
                  <a:gd name="T1" fmla="*/ 10 h 93"/>
                  <a:gd name="T2" fmla="*/ 85 w 3595"/>
                  <a:gd name="T3" fmla="*/ 0 h 93"/>
                  <a:gd name="T4" fmla="*/ 3503 w 3595"/>
                  <a:gd name="T5" fmla="*/ 0 h 93"/>
                  <a:gd name="T6" fmla="*/ 3595 w 3595"/>
                  <a:gd name="T7" fmla="*/ 93 h 93"/>
                  <a:gd name="T8" fmla="*/ 82 w 3595"/>
                  <a:gd name="T9" fmla="*/ 93 h 93"/>
                  <a:gd name="T10" fmla="*/ 0 w 3595"/>
                  <a:gd name="T11" fmla="*/ 10 h 93"/>
                  <a:gd name="T12" fmla="*/ 0 w 3595"/>
                  <a:gd name="T13" fmla="*/ 0 h 93"/>
                  <a:gd name="T14" fmla="*/ 3595 w 3595"/>
                  <a:gd name="T15" fmla="*/ 93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T12" t="T13" r="T14" b="T15"/>
                <a:pathLst>
                  <a:path w="3595" h="93">
                    <a:moveTo>
                      <a:pt x="0" y="10"/>
                    </a:moveTo>
                    <a:lnTo>
                      <a:pt x="85" y="0"/>
                    </a:lnTo>
                    <a:lnTo>
                      <a:pt x="3503" y="0"/>
                    </a:lnTo>
                    <a:lnTo>
                      <a:pt x="3595" y="93"/>
                    </a:lnTo>
                    <a:lnTo>
                      <a:pt x="82" y="93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90BA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5pPr>
                <a:lvl6pPr marL="22860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6pPr>
                <a:lvl7pPr marL="27432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7pPr>
                <a:lvl8pPr marL="32004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8pPr>
                <a:lvl9pPr marL="36576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9pPr>
              </a:lstStyle>
              <a:p>
                <a:endParaRPr lang="ko-KR" altLang="en-US"/>
              </a:p>
            </p:txBody>
          </p:sp>
          <p:sp>
            <p:nvSpPr>
              <p:cNvPr id="59" name="Freeform 21"/>
              <p:cNvSpPr>
                <a:spLocks/>
              </p:cNvSpPr>
              <p:nvPr/>
            </p:nvSpPr>
            <p:spPr bwMode="auto">
              <a:xfrm>
                <a:off x="2641" y="501"/>
                <a:ext cx="350" cy="496"/>
              </a:xfrm>
              <a:custGeom>
                <a:avLst/>
                <a:gdLst>
                  <a:gd name="T0" fmla="*/ 104 w 350"/>
                  <a:gd name="T1" fmla="*/ 496 h 496"/>
                  <a:gd name="T2" fmla="*/ 0 w 350"/>
                  <a:gd name="T3" fmla="*/ 392 h 496"/>
                  <a:gd name="T4" fmla="*/ 213 w 350"/>
                  <a:gd name="T5" fmla="*/ 0 h 496"/>
                  <a:gd name="T6" fmla="*/ 350 w 350"/>
                  <a:gd name="T7" fmla="*/ 0 h 496"/>
                  <a:gd name="T8" fmla="*/ 104 w 350"/>
                  <a:gd name="T9" fmla="*/ 496 h 496"/>
                  <a:gd name="T10" fmla="*/ 0 w 350"/>
                  <a:gd name="T11" fmla="*/ 0 h 496"/>
                  <a:gd name="T12" fmla="*/ 350 w 350"/>
                  <a:gd name="T13" fmla="*/ 496 h 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T10" t="T11" r="T12" b="T13"/>
                <a:pathLst>
                  <a:path w="350" h="496">
                    <a:moveTo>
                      <a:pt x="104" y="496"/>
                    </a:moveTo>
                    <a:lnTo>
                      <a:pt x="0" y="392"/>
                    </a:lnTo>
                    <a:lnTo>
                      <a:pt x="213" y="0"/>
                    </a:lnTo>
                    <a:lnTo>
                      <a:pt x="350" y="0"/>
                    </a:lnTo>
                    <a:lnTo>
                      <a:pt x="104" y="496"/>
                    </a:lnTo>
                    <a:close/>
                  </a:path>
                </a:pathLst>
              </a:custGeom>
              <a:solidFill>
                <a:srgbClr val="90BA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5pPr>
                <a:lvl6pPr marL="22860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6pPr>
                <a:lvl7pPr marL="27432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7pPr>
                <a:lvl8pPr marL="32004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8pPr>
                <a:lvl9pPr marL="36576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9pPr>
              </a:lstStyle>
              <a:p>
                <a:endParaRPr lang="ko-KR" altLang="en-US"/>
              </a:p>
            </p:txBody>
          </p:sp>
        </p:grpSp>
        <p:grpSp>
          <p:nvGrpSpPr>
            <p:cNvPr id="45" name="Group 18"/>
            <p:cNvGrpSpPr>
              <a:grpSpLocks/>
            </p:cNvGrpSpPr>
            <p:nvPr/>
          </p:nvGrpSpPr>
          <p:grpSpPr bwMode="auto">
            <a:xfrm>
              <a:off x="932357" y="3449290"/>
              <a:ext cx="2502061" cy="828598"/>
              <a:chOff x="0" y="0"/>
              <a:chExt cx="3612" cy="978"/>
            </a:xfrm>
          </p:grpSpPr>
          <p:sp>
            <p:nvSpPr>
              <p:cNvPr id="51" name="Freeform 13"/>
              <p:cNvSpPr>
                <a:spLocks/>
              </p:cNvSpPr>
              <p:nvPr/>
            </p:nvSpPr>
            <p:spPr bwMode="auto">
              <a:xfrm>
                <a:off x="0" y="489"/>
                <a:ext cx="103" cy="489"/>
              </a:xfrm>
              <a:custGeom>
                <a:avLst/>
                <a:gdLst>
                  <a:gd name="T0" fmla="*/ 97 w 97"/>
                  <a:gd name="T1" fmla="*/ 489 h 489"/>
                  <a:gd name="T2" fmla="*/ 97 w 97"/>
                  <a:gd name="T3" fmla="*/ 97 h 489"/>
                  <a:gd name="T4" fmla="*/ 0 w 97"/>
                  <a:gd name="T5" fmla="*/ 0 h 489"/>
                  <a:gd name="T6" fmla="*/ 0 w 97"/>
                  <a:gd name="T7" fmla="*/ 400 h 489"/>
                  <a:gd name="T8" fmla="*/ 97 w 97"/>
                  <a:gd name="T9" fmla="*/ 489 h 489"/>
                  <a:gd name="T10" fmla="*/ 0 w 97"/>
                  <a:gd name="T11" fmla="*/ 0 h 489"/>
                  <a:gd name="T12" fmla="*/ 97 w 97"/>
                  <a:gd name="T13" fmla="*/ 489 h 4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T10" t="T11" r="T12" b="T13"/>
                <a:pathLst>
                  <a:path w="97" h="489">
                    <a:moveTo>
                      <a:pt x="97" y="489"/>
                    </a:moveTo>
                    <a:lnTo>
                      <a:pt x="97" y="97"/>
                    </a:lnTo>
                    <a:lnTo>
                      <a:pt x="0" y="0"/>
                    </a:lnTo>
                    <a:lnTo>
                      <a:pt x="0" y="400"/>
                    </a:lnTo>
                    <a:lnTo>
                      <a:pt x="97" y="489"/>
                    </a:lnTo>
                    <a:close/>
                  </a:path>
                </a:pathLst>
              </a:custGeom>
              <a:solidFill>
                <a:srgbClr val="4C70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5pPr>
                <a:lvl6pPr marL="22860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6pPr>
                <a:lvl7pPr marL="27432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7pPr>
                <a:lvl8pPr marL="32004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8pPr>
                <a:lvl9pPr marL="36576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9pPr>
              </a:lstStyle>
              <a:p>
                <a:endParaRPr lang="ko-KR" altLang="en-US"/>
              </a:p>
            </p:txBody>
          </p:sp>
          <p:sp>
            <p:nvSpPr>
              <p:cNvPr id="52" name="Freeform 14"/>
              <p:cNvSpPr>
                <a:spLocks/>
              </p:cNvSpPr>
              <p:nvPr/>
            </p:nvSpPr>
            <p:spPr bwMode="auto">
              <a:xfrm>
                <a:off x="0" y="487"/>
                <a:ext cx="3019" cy="99"/>
              </a:xfrm>
              <a:custGeom>
                <a:avLst/>
                <a:gdLst>
                  <a:gd name="T0" fmla="*/ 97 w 3007"/>
                  <a:gd name="T1" fmla="*/ 99 h 99"/>
                  <a:gd name="T2" fmla="*/ 3007 w 3007"/>
                  <a:gd name="T3" fmla="*/ 99 h 99"/>
                  <a:gd name="T4" fmla="*/ 2908 w 3007"/>
                  <a:gd name="T5" fmla="*/ 0 h 99"/>
                  <a:gd name="T6" fmla="*/ 0 w 3007"/>
                  <a:gd name="T7" fmla="*/ 2 h 99"/>
                  <a:gd name="T8" fmla="*/ 97 w 3007"/>
                  <a:gd name="T9" fmla="*/ 99 h 99"/>
                  <a:gd name="T10" fmla="*/ 0 w 3007"/>
                  <a:gd name="T11" fmla="*/ 0 h 99"/>
                  <a:gd name="T12" fmla="*/ 3007 w 3007"/>
                  <a:gd name="T13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T10" t="T11" r="T12" b="T13"/>
                <a:pathLst>
                  <a:path w="3007" h="99">
                    <a:moveTo>
                      <a:pt x="97" y="99"/>
                    </a:moveTo>
                    <a:lnTo>
                      <a:pt x="3007" y="99"/>
                    </a:lnTo>
                    <a:lnTo>
                      <a:pt x="2908" y="0"/>
                    </a:lnTo>
                    <a:lnTo>
                      <a:pt x="0" y="2"/>
                    </a:lnTo>
                    <a:lnTo>
                      <a:pt x="97" y="99"/>
                    </a:lnTo>
                    <a:close/>
                  </a:path>
                </a:pathLst>
              </a:custGeom>
              <a:solidFill>
                <a:srgbClr val="90BA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5pPr>
                <a:lvl6pPr marL="22860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6pPr>
                <a:lvl7pPr marL="27432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7pPr>
                <a:lvl8pPr marL="32004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8pPr>
                <a:lvl9pPr marL="36576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9pPr>
              </a:lstStyle>
              <a:p>
                <a:endParaRPr lang="ko-KR" altLang="en-US"/>
              </a:p>
            </p:txBody>
          </p:sp>
          <p:sp>
            <p:nvSpPr>
              <p:cNvPr id="53" name="Freeform 15"/>
              <p:cNvSpPr>
                <a:spLocks/>
              </p:cNvSpPr>
              <p:nvPr/>
            </p:nvSpPr>
            <p:spPr bwMode="auto">
              <a:xfrm>
                <a:off x="97" y="95"/>
                <a:ext cx="3515" cy="883"/>
              </a:xfrm>
              <a:custGeom>
                <a:avLst/>
                <a:gdLst>
                  <a:gd name="T0" fmla="*/ 0 w 3515"/>
                  <a:gd name="T1" fmla="*/ 883 h 883"/>
                  <a:gd name="T2" fmla="*/ 3515 w 3515"/>
                  <a:gd name="T3" fmla="*/ 883 h 883"/>
                  <a:gd name="T4" fmla="*/ 3028 w 3515"/>
                  <a:gd name="T5" fmla="*/ 0 h 883"/>
                  <a:gd name="T6" fmla="*/ 2617 w 3515"/>
                  <a:gd name="T7" fmla="*/ 0 h 883"/>
                  <a:gd name="T8" fmla="*/ 2910 w 3515"/>
                  <a:gd name="T9" fmla="*/ 491 h 883"/>
                  <a:gd name="T10" fmla="*/ 0 w 3515"/>
                  <a:gd name="T11" fmla="*/ 491 h 883"/>
                  <a:gd name="T12" fmla="*/ 0 w 3515"/>
                  <a:gd name="T13" fmla="*/ 883 h 883"/>
                  <a:gd name="T14" fmla="*/ 0 w 3515"/>
                  <a:gd name="T15" fmla="*/ 0 h 883"/>
                  <a:gd name="T16" fmla="*/ 3515 w 3515"/>
                  <a:gd name="T17" fmla="*/ 883 h 8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T14" t="T15" r="T16" b="T17"/>
                <a:pathLst>
                  <a:path w="3515" h="883">
                    <a:moveTo>
                      <a:pt x="0" y="883"/>
                    </a:moveTo>
                    <a:lnTo>
                      <a:pt x="3515" y="883"/>
                    </a:lnTo>
                    <a:lnTo>
                      <a:pt x="3028" y="0"/>
                    </a:lnTo>
                    <a:lnTo>
                      <a:pt x="2617" y="0"/>
                    </a:lnTo>
                    <a:lnTo>
                      <a:pt x="2910" y="491"/>
                    </a:lnTo>
                    <a:lnTo>
                      <a:pt x="0" y="491"/>
                    </a:lnTo>
                    <a:lnTo>
                      <a:pt x="0" y="883"/>
                    </a:lnTo>
                    <a:close/>
                  </a:path>
                </a:pathLst>
              </a:custGeom>
              <a:solidFill>
                <a:srgbClr val="6B9B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5pPr>
                <a:lvl6pPr marL="22860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6pPr>
                <a:lvl7pPr marL="27432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7pPr>
                <a:lvl8pPr marL="32004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8pPr>
                <a:lvl9pPr marL="36576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9pPr>
              </a:lstStyle>
              <a:p>
                <a:endParaRPr lang="ko-KR" altLang="en-US"/>
              </a:p>
            </p:txBody>
          </p:sp>
          <p:sp>
            <p:nvSpPr>
              <p:cNvPr id="54" name="Freeform 16"/>
              <p:cNvSpPr>
                <a:spLocks/>
              </p:cNvSpPr>
              <p:nvPr/>
            </p:nvSpPr>
            <p:spPr bwMode="auto">
              <a:xfrm>
                <a:off x="2625" y="0"/>
                <a:ext cx="394" cy="586"/>
              </a:xfrm>
              <a:custGeom>
                <a:avLst/>
                <a:gdLst>
                  <a:gd name="T0" fmla="*/ 283 w 382"/>
                  <a:gd name="T1" fmla="*/ 487 h 586"/>
                  <a:gd name="T2" fmla="*/ 0 w 382"/>
                  <a:gd name="T3" fmla="*/ 0 h 586"/>
                  <a:gd name="T4" fmla="*/ 89 w 382"/>
                  <a:gd name="T5" fmla="*/ 95 h 586"/>
                  <a:gd name="T6" fmla="*/ 382 w 382"/>
                  <a:gd name="T7" fmla="*/ 586 h 586"/>
                  <a:gd name="T8" fmla="*/ 283 w 382"/>
                  <a:gd name="T9" fmla="*/ 487 h 586"/>
                  <a:gd name="T10" fmla="*/ 0 w 382"/>
                  <a:gd name="T11" fmla="*/ 0 h 586"/>
                  <a:gd name="T12" fmla="*/ 382 w 382"/>
                  <a:gd name="T13" fmla="*/ 586 h 5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T10" t="T11" r="T12" b="T13"/>
                <a:pathLst>
                  <a:path w="382" h="586">
                    <a:moveTo>
                      <a:pt x="283" y="487"/>
                    </a:moveTo>
                    <a:lnTo>
                      <a:pt x="0" y="0"/>
                    </a:lnTo>
                    <a:lnTo>
                      <a:pt x="89" y="95"/>
                    </a:lnTo>
                    <a:lnTo>
                      <a:pt x="382" y="586"/>
                    </a:lnTo>
                    <a:lnTo>
                      <a:pt x="283" y="487"/>
                    </a:lnTo>
                    <a:close/>
                  </a:path>
                </a:pathLst>
              </a:custGeom>
              <a:solidFill>
                <a:srgbClr val="4C70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5pPr>
                <a:lvl6pPr marL="22860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6pPr>
                <a:lvl7pPr marL="27432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7pPr>
                <a:lvl8pPr marL="32004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8pPr>
                <a:lvl9pPr marL="36576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9pPr>
              </a:lstStyle>
              <a:p>
                <a:endParaRPr lang="ko-KR" altLang="en-US"/>
              </a:p>
            </p:txBody>
          </p:sp>
          <p:sp>
            <p:nvSpPr>
              <p:cNvPr id="55" name="Freeform 17"/>
              <p:cNvSpPr>
                <a:spLocks/>
              </p:cNvSpPr>
              <p:nvPr/>
            </p:nvSpPr>
            <p:spPr bwMode="auto">
              <a:xfrm>
                <a:off x="2625" y="0"/>
                <a:ext cx="500" cy="95"/>
              </a:xfrm>
              <a:custGeom>
                <a:avLst/>
                <a:gdLst>
                  <a:gd name="T0" fmla="*/ 0 w 500"/>
                  <a:gd name="T1" fmla="*/ 0 h 95"/>
                  <a:gd name="T2" fmla="*/ 411 w 500"/>
                  <a:gd name="T3" fmla="*/ 0 h 95"/>
                  <a:gd name="T4" fmla="*/ 500 w 500"/>
                  <a:gd name="T5" fmla="*/ 95 h 95"/>
                  <a:gd name="T6" fmla="*/ 89 w 500"/>
                  <a:gd name="T7" fmla="*/ 95 h 95"/>
                  <a:gd name="T8" fmla="*/ 0 w 500"/>
                  <a:gd name="T9" fmla="*/ 0 h 95"/>
                  <a:gd name="T10" fmla="*/ 0 w 500"/>
                  <a:gd name="T11" fmla="*/ 0 h 95"/>
                  <a:gd name="T12" fmla="*/ 500 w 500"/>
                  <a:gd name="T13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T10" t="T11" r="T12" b="T13"/>
                <a:pathLst>
                  <a:path w="500" h="95">
                    <a:moveTo>
                      <a:pt x="0" y="0"/>
                    </a:moveTo>
                    <a:lnTo>
                      <a:pt x="411" y="0"/>
                    </a:lnTo>
                    <a:lnTo>
                      <a:pt x="500" y="95"/>
                    </a:lnTo>
                    <a:lnTo>
                      <a:pt x="89" y="9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0BA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5pPr>
                <a:lvl6pPr marL="22860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6pPr>
                <a:lvl7pPr marL="27432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7pPr>
                <a:lvl8pPr marL="32004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8pPr>
                <a:lvl9pPr marL="36576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9pPr>
              </a:lstStyle>
              <a:p>
                <a:endParaRPr lang="ko-KR" altLang="en-US"/>
              </a:p>
            </p:txBody>
          </p:sp>
        </p:grpSp>
      </p:grpSp>
      <p:sp>
        <p:nvSpPr>
          <p:cNvPr id="31" name="TextBox 30"/>
          <p:cNvSpPr txBox="1"/>
          <p:nvPr/>
        </p:nvSpPr>
        <p:spPr>
          <a:xfrm>
            <a:off x="882800" y="3931393"/>
            <a:ext cx="9742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 smtClean="0">
                <a:solidFill>
                  <a:schemeClr val="tx2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F</a:t>
            </a:r>
            <a:r>
              <a:rPr lang="ko-KR" altLang="en-US" dirty="0" smtClean="0">
                <a:solidFill>
                  <a:schemeClr val="tx2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코드</a:t>
            </a:r>
            <a:endParaRPr lang="ko-KR" altLang="en-US" dirty="0">
              <a:solidFill>
                <a:schemeClr val="tx2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877258" y="4748907"/>
            <a:ext cx="9742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 smtClean="0">
                <a:solidFill>
                  <a:schemeClr val="accent2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Z</a:t>
            </a:r>
            <a:r>
              <a:rPr lang="ko-KR" altLang="en-US" dirty="0" smtClean="0">
                <a:solidFill>
                  <a:schemeClr val="accent2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코드</a:t>
            </a:r>
            <a:endParaRPr lang="ko-KR" altLang="en-US" dirty="0">
              <a:solidFill>
                <a:schemeClr val="accent2">
                  <a:lumMod val="75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168" name="TextBox 7167"/>
          <p:cNvSpPr txBox="1"/>
          <p:nvPr/>
        </p:nvSpPr>
        <p:spPr>
          <a:xfrm>
            <a:off x="1722113" y="3945771"/>
            <a:ext cx="159279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정신질환 진료 및 치료</a:t>
            </a:r>
            <a:endParaRPr lang="ko-KR" altLang="en-US" sz="11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722113" y="4775100"/>
            <a:ext cx="159279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일반 보건 상담 진료</a:t>
            </a:r>
            <a:endParaRPr lang="ko-KR" altLang="en-US" sz="11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8" name="오른쪽 화살표 47"/>
          <p:cNvSpPr/>
          <p:nvPr/>
        </p:nvSpPr>
        <p:spPr>
          <a:xfrm>
            <a:off x="6120172" y="124527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9" name="오른쪽 화살표 48"/>
          <p:cNvSpPr/>
          <p:nvPr/>
        </p:nvSpPr>
        <p:spPr>
          <a:xfrm>
            <a:off x="5795302" y="158447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0" name="오른쪽 화살표 49"/>
          <p:cNvSpPr/>
          <p:nvPr/>
        </p:nvSpPr>
        <p:spPr>
          <a:xfrm>
            <a:off x="5752052" y="195598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6" name="오른쪽 화살표 65"/>
          <p:cNvSpPr/>
          <p:nvPr/>
        </p:nvSpPr>
        <p:spPr>
          <a:xfrm>
            <a:off x="340596" y="6190518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67" name="그룹 66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68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70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72" name="TextBox 71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74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69" name="그림 6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66934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2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6" dur="75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7" dur="150" fill="hold">
                                          <p:stCondLst>
                                            <p:cond delay="15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8" dur="150" fill="hold">
                                          <p:stCondLst>
                                            <p:cond delay="30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9" dur="150" fill="hold">
                                          <p:stCondLst>
                                            <p:cond delay="45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0" dur="15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1406566" y="421418"/>
            <a:ext cx="6871726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『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꿈같은 은퇴 여유 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sz="24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생계형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노인 일자리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』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93065" y="1195169"/>
            <a:ext cx="8327407" cy="18004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60~64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세 고용률 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57.2%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생계 위해 일자리를 희망하는 노인 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106</a:t>
            </a: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만명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＇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13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년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궁핍에 내몰려</a:t>
            </a:r>
            <a:endParaRPr lang="en-US" altLang="ko-KR" sz="1600" b="1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14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現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정부 노인 일자리사업</a:t>
            </a:r>
            <a:r>
              <a:rPr lang="en-US" altLang="ko-KR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일자리 수</a:t>
            </a:r>
            <a:r>
              <a:rPr lang="en-US" altLang="ko-KR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31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개 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신뢰도 낮은 통계상 수치 의혹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문제①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노인일자리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80%</a:t>
            </a:r>
            <a:r>
              <a:rPr lang="en-US" altLang="ko-KR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(24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만</a:t>
            </a:r>
            <a:r>
              <a:rPr lang="en-US" altLang="ko-KR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8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천 개</a:t>
            </a:r>
            <a:r>
              <a:rPr lang="en-US" altLang="ko-KR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가 공공잡일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 → </a:t>
            </a:r>
            <a:r>
              <a:rPr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年</a:t>
            </a:r>
            <a:r>
              <a:rPr lang="en-US" altLang="ko-KR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9</a:t>
            </a:r>
            <a:r>
              <a:rPr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개월</a:t>
            </a:r>
            <a:r>
              <a:rPr lang="en-US" altLang="ko-KR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·10</a:t>
            </a:r>
            <a:r>
              <a:rPr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년째 月</a:t>
            </a:r>
            <a:r>
              <a:rPr lang="en-US" altLang="ko-KR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20</a:t>
            </a:r>
            <a:r>
              <a:rPr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만원</a:t>
            </a:r>
            <a:endParaRPr lang="ko-KR" altLang="en-US" sz="1400" dirty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문제②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정부의 노인일자리예산 → </a:t>
            </a:r>
            <a:r>
              <a:rPr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지역특별회계 이관 계획 추진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문제③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‘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05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 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지자체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이관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노인일자리사업 불균형 초래 중 → </a:t>
            </a:r>
            <a:r>
              <a:rPr lang="en-US" altLang="ko-KR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83</a:t>
            </a:r>
            <a:r>
              <a:rPr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개 </a:t>
            </a:r>
            <a:r>
              <a:rPr lang="ko-KR" altLang="en-US" sz="1400" b="1" dirty="0" err="1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지자체만</a:t>
            </a:r>
            <a:r>
              <a:rPr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639389" y="6029094"/>
            <a:ext cx="850461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지역특별회계 이관 재검토와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가지원 일자리 확대로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적극적 추진 필요</a:t>
            </a:r>
            <a:endParaRPr lang="ko-KR" altLang="en-US" sz="2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14" name="그림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7621" y="2995662"/>
            <a:ext cx="4886379" cy="4445804"/>
          </a:xfrm>
          <a:prstGeom prst="rect">
            <a:avLst/>
          </a:prstGeom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873" y="3356992"/>
            <a:ext cx="5331375" cy="22782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오른쪽 화살표 20"/>
          <p:cNvSpPr/>
          <p:nvPr/>
        </p:nvSpPr>
        <p:spPr>
          <a:xfrm>
            <a:off x="7063984" y="137333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오른쪽 화살표 21"/>
          <p:cNvSpPr/>
          <p:nvPr/>
        </p:nvSpPr>
        <p:spPr>
          <a:xfrm>
            <a:off x="5764181" y="175423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오른쪽 화살표 22"/>
          <p:cNvSpPr/>
          <p:nvPr/>
        </p:nvSpPr>
        <p:spPr>
          <a:xfrm>
            <a:off x="235593" y="6147726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24" name="그룹 23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25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27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TextBox 27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29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26" name="그림 2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1643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1141486" y="488310"/>
            <a:ext cx="7242754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『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사랑보다 먼저 찾아온 이별 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해외입양아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』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93065" y="1195169"/>
            <a:ext cx="803937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전쟁 고아 방지와 가난 때문에 시작한‘해외입양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’</a:t>
            </a:r>
            <a:r>
              <a:rPr lang="ko-KR" altLang="en-US" sz="16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약 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5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여 명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‘12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기준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국내는‘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저출산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저입양의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늪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’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OECD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국가 유일‘해외입양 수출국’ 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정부차원의 과거‘약소국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빈곤국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’시절의 상처회복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치유사업 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태부족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부실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916835" y="5946772"/>
            <a:ext cx="817197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해외입양아</a:t>
            </a:r>
            <a:r>
              <a:rPr lang="en-US" altLang="ko-KR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정책 재정립 및 모국방문 등 뿌리 찾기 사업 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확대</a:t>
            </a:r>
            <a:endParaRPr lang="ko-KR" altLang="en-US" sz="22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064" y="2780928"/>
            <a:ext cx="2657095" cy="2952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직사각형 2"/>
          <p:cNvSpPr/>
          <p:nvPr/>
        </p:nvSpPr>
        <p:spPr>
          <a:xfrm>
            <a:off x="5004048" y="3030922"/>
            <a:ext cx="3621377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ko-KR" altLang="en-US" sz="1200" dirty="0">
                <a:latin typeface="+mj-ea"/>
                <a:ea typeface="+mj-ea"/>
              </a:rPr>
              <a:t>“그들이 나를 버린 데에는 이유가 있었을 것이다</a:t>
            </a:r>
            <a:r>
              <a:rPr lang="en-US" altLang="ko-KR" sz="1200" dirty="0">
                <a:latin typeface="+mj-ea"/>
                <a:ea typeface="+mj-ea"/>
              </a:rPr>
              <a:t>. </a:t>
            </a:r>
            <a:r>
              <a:rPr lang="ko-KR" altLang="en-US" sz="1200" dirty="0">
                <a:latin typeface="+mj-ea"/>
                <a:ea typeface="+mj-ea"/>
              </a:rPr>
              <a:t>그리고 그것이 나를 버릴 만큼 큰 이유라면 굳이 찾아가서 물어보고 싶은 생각이 없다</a:t>
            </a:r>
            <a:r>
              <a:rPr lang="en-US" altLang="ko-KR" sz="1200" dirty="0">
                <a:latin typeface="+mj-ea"/>
                <a:ea typeface="+mj-ea"/>
              </a:rPr>
              <a:t>. </a:t>
            </a:r>
            <a:endParaRPr lang="en-US" altLang="ko-KR" sz="1200" dirty="0" smtClean="0">
              <a:latin typeface="+mj-ea"/>
              <a:ea typeface="+mj-ea"/>
            </a:endParaRPr>
          </a:p>
          <a:p>
            <a:pPr fontAlgn="base"/>
            <a:endParaRPr lang="en-US" altLang="ko-KR" sz="1200" dirty="0">
              <a:latin typeface="+mj-ea"/>
              <a:ea typeface="+mj-ea"/>
            </a:endParaRPr>
          </a:p>
          <a:p>
            <a:pPr fontAlgn="base"/>
            <a:r>
              <a:rPr lang="ko-KR" altLang="en-US" sz="1200" dirty="0" smtClean="0">
                <a:latin typeface="+mj-ea"/>
                <a:ea typeface="+mj-ea"/>
              </a:rPr>
              <a:t>또 </a:t>
            </a:r>
            <a:r>
              <a:rPr lang="ko-KR" altLang="en-US" sz="1200" dirty="0">
                <a:latin typeface="+mj-ea"/>
                <a:ea typeface="+mj-ea"/>
              </a:rPr>
              <a:t>나의 엄마가 미혼모였을 가능성이 크기 때문에</a:t>
            </a:r>
            <a:r>
              <a:rPr lang="en-US" altLang="ko-KR" sz="1200" dirty="0">
                <a:latin typeface="+mj-ea"/>
                <a:ea typeface="+mj-ea"/>
              </a:rPr>
              <a:t>, </a:t>
            </a:r>
            <a:r>
              <a:rPr lang="ko-KR" altLang="en-US" sz="1200" dirty="0">
                <a:latin typeface="+mj-ea"/>
                <a:ea typeface="+mj-ea"/>
              </a:rPr>
              <a:t>내가 찾아간다 해도 그녀에게 상처만 줄 것이다</a:t>
            </a:r>
            <a:r>
              <a:rPr lang="en-US" altLang="ko-KR" sz="1200" dirty="0">
                <a:latin typeface="+mj-ea"/>
                <a:ea typeface="+mj-ea"/>
              </a:rPr>
              <a:t>. </a:t>
            </a:r>
            <a:r>
              <a:rPr lang="ko-KR" altLang="en-US" sz="1200" dirty="0">
                <a:latin typeface="+mj-ea"/>
                <a:ea typeface="+mj-ea"/>
              </a:rPr>
              <a:t>그래서 찾고 싶지 않다</a:t>
            </a:r>
            <a:r>
              <a:rPr lang="en-US" altLang="ko-KR" sz="1200" dirty="0">
                <a:latin typeface="+mj-ea"/>
                <a:ea typeface="+mj-ea"/>
              </a:rPr>
              <a:t>. </a:t>
            </a:r>
            <a:endParaRPr lang="en-US" altLang="ko-KR" sz="1200" dirty="0" smtClean="0">
              <a:latin typeface="+mj-ea"/>
              <a:ea typeface="+mj-ea"/>
            </a:endParaRPr>
          </a:p>
          <a:p>
            <a:pPr fontAlgn="base"/>
            <a:endParaRPr lang="en-US" altLang="ko-KR" sz="1200" dirty="0">
              <a:latin typeface="+mj-ea"/>
              <a:ea typeface="+mj-ea"/>
            </a:endParaRPr>
          </a:p>
          <a:p>
            <a:pPr fontAlgn="base"/>
            <a:r>
              <a:rPr lang="ko-KR" altLang="en-US" sz="1200" dirty="0" smtClean="0">
                <a:latin typeface="+mj-ea"/>
                <a:ea typeface="+mj-ea"/>
              </a:rPr>
              <a:t>그러나</a:t>
            </a:r>
            <a:r>
              <a:rPr lang="en-US" altLang="ko-KR" sz="1200" dirty="0">
                <a:latin typeface="+mj-ea"/>
                <a:ea typeface="+mj-ea"/>
              </a:rPr>
              <a:t>, </a:t>
            </a:r>
            <a:r>
              <a:rPr lang="ko-KR" altLang="en-US" sz="1200" dirty="0">
                <a:latin typeface="+mj-ea"/>
                <a:ea typeface="+mj-ea"/>
              </a:rPr>
              <a:t>한국과 엄마에 대한 그리움과 쓸쓸함은 항상 간직하고 있다”</a:t>
            </a:r>
          </a:p>
          <a:p>
            <a:pPr fontAlgn="base"/>
            <a:endParaRPr lang="en-US" altLang="ko-KR" sz="1200" dirty="0" smtClean="0">
              <a:latin typeface="+mj-ea"/>
              <a:ea typeface="+mj-ea"/>
            </a:endParaRPr>
          </a:p>
          <a:p>
            <a:pPr fontAlgn="base"/>
            <a:r>
              <a:rPr lang="en-US" altLang="ko-KR" sz="1200" b="1" dirty="0" smtClean="0">
                <a:latin typeface="+mj-ea"/>
                <a:ea typeface="+mj-ea"/>
              </a:rPr>
              <a:t>&lt;</a:t>
            </a:r>
            <a:r>
              <a:rPr lang="ko-KR" altLang="en-US" sz="1200" b="1" dirty="0" smtClean="0">
                <a:latin typeface="+mj-ea"/>
                <a:ea typeface="+mj-ea"/>
              </a:rPr>
              <a:t>노르웨이 </a:t>
            </a:r>
            <a:r>
              <a:rPr lang="ko-KR" altLang="en-US" sz="1200" b="1" dirty="0">
                <a:latin typeface="+mj-ea"/>
                <a:ea typeface="+mj-ea"/>
              </a:rPr>
              <a:t>입양아 인터뷰 중에서</a:t>
            </a:r>
            <a:r>
              <a:rPr lang="en-US" altLang="ko-KR" sz="1200" b="1" dirty="0">
                <a:latin typeface="+mj-ea"/>
                <a:ea typeface="+mj-ea"/>
              </a:rPr>
              <a:t>&gt; </a:t>
            </a:r>
            <a:endParaRPr lang="ko-KR" altLang="en-US" sz="1200" b="1" dirty="0">
              <a:latin typeface="+mj-ea"/>
              <a:ea typeface="+mj-ea"/>
            </a:endParaRPr>
          </a:p>
        </p:txBody>
      </p:sp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9996" y="2924944"/>
            <a:ext cx="1623093" cy="2520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오른쪽 화살표 20"/>
          <p:cNvSpPr/>
          <p:nvPr/>
        </p:nvSpPr>
        <p:spPr>
          <a:xfrm>
            <a:off x="5713026" y="137549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오른쪽 화살표 21"/>
          <p:cNvSpPr/>
          <p:nvPr/>
        </p:nvSpPr>
        <p:spPr>
          <a:xfrm>
            <a:off x="3846905" y="175922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오른쪽 화살표 22"/>
          <p:cNvSpPr/>
          <p:nvPr/>
        </p:nvSpPr>
        <p:spPr>
          <a:xfrm>
            <a:off x="6859119" y="212707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직사각형 1"/>
          <p:cNvSpPr/>
          <p:nvPr/>
        </p:nvSpPr>
        <p:spPr>
          <a:xfrm>
            <a:off x="1043608" y="3861048"/>
            <a:ext cx="2016224" cy="21602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오른쪽 화살표 23"/>
          <p:cNvSpPr/>
          <p:nvPr/>
        </p:nvSpPr>
        <p:spPr>
          <a:xfrm>
            <a:off x="466915" y="6103258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25" name="그룹 24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26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28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TextBox 28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30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27" name="그림 26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4274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1168115" y="457200"/>
            <a:ext cx="758541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 latinLnBrk="0"/>
            <a:r>
              <a:rPr lang="ko-KR" altLang="en-US" sz="2200" dirty="0" smtClean="0">
                <a:solidFill>
                  <a:schemeClr val="accent1">
                    <a:lumMod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쇄신과제 ②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보건의료 </a:t>
            </a:r>
            <a:r>
              <a:rPr lang="ko-KR" altLang="en-US" sz="2200" dirty="0">
                <a:latin typeface="HY견고딕" panose="02030600000101010101" pitchFamily="18" charset="-127"/>
                <a:ea typeface="HY견고딕" panose="02030600000101010101" pitchFamily="18" charset="-127"/>
              </a:rPr>
              <a:t>실태와 </a:t>
            </a:r>
            <a:r>
              <a:rPr lang="ko-KR" altLang="en-US" sz="22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미래형 통합의료체제 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구축</a:t>
            </a:r>
            <a:endParaRPr lang="ko-KR" altLang="en-US" sz="22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854149" y="5429905"/>
            <a:ext cx="811835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질병예방부터 재활요양까지 정부중심 </a:t>
            </a:r>
            <a:r>
              <a:rPr lang="ko-KR" altLang="en-US" sz="2400" dirty="0">
                <a:latin typeface="HY견고딕" panose="02030600000101010101" pitchFamily="18" charset="-127"/>
                <a:ea typeface="HY견고딕" panose="02030600000101010101" pitchFamily="18" charset="-127"/>
              </a:rPr>
              <a:t>통합체계 구축하되 </a:t>
            </a:r>
            <a:r>
              <a:rPr lang="ko-KR" altLang="en-US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민관 </a:t>
            </a:r>
            <a:r>
              <a:rPr lang="ko-KR" altLang="en-US" sz="2400" dirty="0" err="1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거버넌스</a:t>
            </a:r>
            <a:r>
              <a:rPr lang="ko-KR" altLang="en-US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강화</a:t>
            </a:r>
            <a:r>
              <a:rPr lang="en-US" altLang="ko-KR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신기술 보건의료산업 접목 강화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76230" y="1203037"/>
            <a:ext cx="8344242" cy="3893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병원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병상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고가 의료장비 등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OECD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평균보다 급속적으로 증가 추세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과잉공급 양상 </a:t>
            </a:r>
            <a:r>
              <a:rPr lang="ko-KR" altLang="en-US" sz="1600" b="1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뚜렷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※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한국의 질병치료기술은 세계적 수준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의료서비스의 공급체계는 미흡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→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병원 밖 환자 돌봄 강화 </a:t>
            </a:r>
          </a:p>
          <a:p>
            <a:pPr fontAlgn="base">
              <a:lnSpc>
                <a:spcPct val="2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보건의료자원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의사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간호사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증가세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OECD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평균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의사 약 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65%·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간호사 약 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54%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수준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부족 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2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자치단체의 경우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부처별 사업계획에 따라 개별 추진으로 비효율성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비효과성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露程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해소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※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지방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지역 보건의료 상황 점차 부실 ⇨ 지방의료원 시설 낙후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전문의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간호사 확보 어려움 해결</a:t>
            </a:r>
          </a:p>
          <a:p>
            <a:pPr fontAlgn="base">
              <a:lnSpc>
                <a:spcPct val="2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평균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수명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영유아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사망률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OECD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평균의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/2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수준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‘10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자살률 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위 등 정신건강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악화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※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평소 질병예방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증상조절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건강관련 교육과 훈련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재택의료 프로그램 등 예방 중심정책으로 전환</a:t>
            </a:r>
          </a:p>
          <a:p>
            <a:pPr fontAlgn="base">
              <a:lnSpc>
                <a:spcPct val="2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의사방문수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평균재원일수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일본에 이어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2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위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의료자원의 비효율적 활용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비용 증가 요인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30" name="오른쪽 화살표 29"/>
          <p:cNvSpPr/>
          <p:nvPr/>
        </p:nvSpPr>
        <p:spPr>
          <a:xfrm>
            <a:off x="6639056" y="137891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1" name="오른쪽 화살표 30"/>
          <p:cNvSpPr/>
          <p:nvPr/>
        </p:nvSpPr>
        <p:spPr>
          <a:xfrm>
            <a:off x="4634594" y="472514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2" name="오른쪽 화살표 31"/>
          <p:cNvSpPr/>
          <p:nvPr/>
        </p:nvSpPr>
        <p:spPr>
          <a:xfrm>
            <a:off x="3915664" y="226152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3" name="오른쪽 화살표 32"/>
          <p:cNvSpPr/>
          <p:nvPr/>
        </p:nvSpPr>
        <p:spPr>
          <a:xfrm>
            <a:off x="5711728" y="379180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4" name="오른쪽 화살표 33"/>
          <p:cNvSpPr/>
          <p:nvPr/>
        </p:nvSpPr>
        <p:spPr>
          <a:xfrm>
            <a:off x="387024" y="5621295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35" name="그룹 34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36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39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40" name="TextBox 39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41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7" name="그림 3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  <p:grpSp>
        <p:nvGrpSpPr>
          <p:cNvPr id="19" name="그룹 18"/>
          <p:cNvGrpSpPr/>
          <p:nvPr/>
        </p:nvGrpSpPr>
        <p:grpSpPr>
          <a:xfrm>
            <a:off x="854149" y="457200"/>
            <a:ext cx="433997" cy="433997"/>
            <a:chOff x="1053286" y="515021"/>
            <a:chExt cx="433997" cy="433997"/>
          </a:xfrm>
        </p:grpSpPr>
        <p:sp>
          <p:nvSpPr>
            <p:cNvPr id="20" name="Oval 45"/>
            <p:cNvSpPr/>
            <p:nvPr/>
          </p:nvSpPr>
          <p:spPr>
            <a:xfrm>
              <a:off x="1053286" y="515021"/>
              <a:ext cx="433997" cy="433997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Freeform 13"/>
            <p:cNvSpPr>
              <a:spLocks noEditPoints="1"/>
            </p:cNvSpPr>
            <p:nvPr/>
          </p:nvSpPr>
          <p:spPr bwMode="auto">
            <a:xfrm rot="10585247" flipV="1">
              <a:off x="1160800" y="600128"/>
              <a:ext cx="218969" cy="263783"/>
            </a:xfrm>
            <a:custGeom>
              <a:avLst/>
              <a:gdLst>
                <a:gd name="T0" fmla="*/ 2022 w 2403"/>
                <a:gd name="T1" fmla="*/ 144 h 2897"/>
                <a:gd name="T2" fmla="*/ 1852 w 2403"/>
                <a:gd name="T3" fmla="*/ 57 h 2897"/>
                <a:gd name="T4" fmla="*/ 1632 w 2403"/>
                <a:gd name="T5" fmla="*/ 1 h 2897"/>
                <a:gd name="T6" fmla="*/ 1548 w 2403"/>
                <a:gd name="T7" fmla="*/ 2 h 2897"/>
                <a:gd name="T8" fmla="*/ 1491 w 2403"/>
                <a:gd name="T9" fmla="*/ 23 h 2897"/>
                <a:gd name="T10" fmla="*/ 785 w 2403"/>
                <a:gd name="T11" fmla="*/ 948 h 2897"/>
                <a:gd name="T12" fmla="*/ 48 w 2403"/>
                <a:gd name="T13" fmla="*/ 1933 h 2897"/>
                <a:gd name="T14" fmla="*/ 30 w 2403"/>
                <a:gd name="T15" fmla="*/ 1995 h 2897"/>
                <a:gd name="T16" fmla="*/ 3 w 2403"/>
                <a:gd name="T17" fmla="*/ 2340 h 2897"/>
                <a:gd name="T18" fmla="*/ 7 w 2403"/>
                <a:gd name="T19" fmla="*/ 2732 h 2897"/>
                <a:gd name="T20" fmla="*/ 27 w 2403"/>
                <a:gd name="T21" fmla="*/ 2871 h 2897"/>
                <a:gd name="T22" fmla="*/ 42 w 2403"/>
                <a:gd name="T23" fmla="*/ 2891 h 2897"/>
                <a:gd name="T24" fmla="*/ 118 w 2403"/>
                <a:gd name="T25" fmla="*/ 2896 h 2897"/>
                <a:gd name="T26" fmla="*/ 340 w 2403"/>
                <a:gd name="T27" fmla="*/ 2850 h 2897"/>
                <a:gd name="T28" fmla="*/ 724 w 2403"/>
                <a:gd name="T29" fmla="*/ 2722 h 2897"/>
                <a:gd name="T30" fmla="*/ 926 w 2403"/>
                <a:gd name="T31" fmla="*/ 2628 h 2897"/>
                <a:gd name="T32" fmla="*/ 987 w 2403"/>
                <a:gd name="T33" fmla="*/ 2578 h 2897"/>
                <a:gd name="T34" fmla="*/ 1454 w 2403"/>
                <a:gd name="T35" fmla="*/ 1961 h 2897"/>
                <a:gd name="T36" fmla="*/ 2390 w 2403"/>
                <a:gd name="T37" fmla="*/ 675 h 2897"/>
                <a:gd name="T38" fmla="*/ 2403 w 2403"/>
                <a:gd name="T39" fmla="*/ 631 h 2897"/>
                <a:gd name="T40" fmla="*/ 2392 w 2403"/>
                <a:gd name="T41" fmla="*/ 562 h 2897"/>
                <a:gd name="T42" fmla="*/ 2334 w 2403"/>
                <a:gd name="T43" fmla="*/ 447 h 2897"/>
                <a:gd name="T44" fmla="*/ 2193 w 2403"/>
                <a:gd name="T45" fmla="*/ 279 h 2897"/>
                <a:gd name="T46" fmla="*/ 1398 w 2403"/>
                <a:gd name="T47" fmla="*/ 308 h 2897"/>
                <a:gd name="T48" fmla="*/ 1421 w 2403"/>
                <a:gd name="T49" fmla="*/ 290 h 2897"/>
                <a:gd name="T50" fmla="*/ 1468 w 2403"/>
                <a:gd name="T51" fmla="*/ 287 h 2897"/>
                <a:gd name="T52" fmla="*/ 1528 w 2403"/>
                <a:gd name="T53" fmla="*/ 313 h 2897"/>
                <a:gd name="T54" fmla="*/ 1580 w 2403"/>
                <a:gd name="T55" fmla="*/ 368 h 2897"/>
                <a:gd name="T56" fmla="*/ 1587 w 2403"/>
                <a:gd name="T57" fmla="*/ 409 h 2897"/>
                <a:gd name="T58" fmla="*/ 337 w 2403"/>
                <a:gd name="T59" fmla="*/ 1902 h 2897"/>
                <a:gd name="T60" fmla="*/ 473 w 2403"/>
                <a:gd name="T61" fmla="*/ 2660 h 2897"/>
                <a:gd name="T62" fmla="*/ 364 w 2403"/>
                <a:gd name="T63" fmla="*/ 2709 h 2897"/>
                <a:gd name="T64" fmla="*/ 169 w 2403"/>
                <a:gd name="T65" fmla="*/ 2764 h 2897"/>
                <a:gd name="T66" fmla="*/ 134 w 2403"/>
                <a:gd name="T67" fmla="*/ 2763 h 2897"/>
                <a:gd name="T68" fmla="*/ 125 w 2403"/>
                <a:gd name="T69" fmla="*/ 2643 h 2897"/>
                <a:gd name="T70" fmla="*/ 137 w 2403"/>
                <a:gd name="T71" fmla="*/ 2423 h 2897"/>
                <a:gd name="T72" fmla="*/ 151 w 2403"/>
                <a:gd name="T73" fmla="*/ 2404 h 2897"/>
                <a:gd name="T74" fmla="*/ 206 w 2403"/>
                <a:gd name="T75" fmla="*/ 2409 h 2897"/>
                <a:gd name="T76" fmla="*/ 355 w 2403"/>
                <a:gd name="T77" fmla="*/ 2486 h 2897"/>
                <a:gd name="T78" fmla="*/ 454 w 2403"/>
                <a:gd name="T79" fmla="*/ 2577 h 2897"/>
                <a:gd name="T80" fmla="*/ 480 w 2403"/>
                <a:gd name="T81" fmla="*/ 2630 h 2897"/>
                <a:gd name="T82" fmla="*/ 490 w 2403"/>
                <a:gd name="T83" fmla="*/ 2117 h 2897"/>
                <a:gd name="T84" fmla="*/ 1708 w 2403"/>
                <a:gd name="T85" fmla="*/ 446 h 2897"/>
                <a:gd name="T86" fmla="*/ 1748 w 2403"/>
                <a:gd name="T87" fmla="*/ 445 h 2897"/>
                <a:gd name="T88" fmla="*/ 1821 w 2403"/>
                <a:gd name="T89" fmla="*/ 478 h 2897"/>
                <a:gd name="T90" fmla="*/ 1867 w 2403"/>
                <a:gd name="T91" fmla="*/ 520 h 2897"/>
                <a:gd name="T92" fmla="*/ 1888 w 2403"/>
                <a:gd name="T93" fmla="*/ 565 h 2897"/>
                <a:gd name="T94" fmla="*/ 624 w 2403"/>
                <a:gd name="T95" fmla="*/ 2291 h 2897"/>
                <a:gd name="T96" fmla="*/ 902 w 2403"/>
                <a:gd name="T97" fmla="*/ 2386 h 2897"/>
                <a:gd name="T98" fmla="*/ 1979 w 2403"/>
                <a:gd name="T99" fmla="*/ 672 h 2897"/>
                <a:gd name="T100" fmla="*/ 2014 w 2403"/>
                <a:gd name="T101" fmla="*/ 670 h 2897"/>
                <a:gd name="T102" fmla="*/ 2067 w 2403"/>
                <a:gd name="T103" fmla="*/ 704 h 2897"/>
                <a:gd name="T104" fmla="*/ 2108 w 2403"/>
                <a:gd name="T105" fmla="*/ 754 h 2897"/>
                <a:gd name="T106" fmla="*/ 2123 w 2403"/>
                <a:gd name="T107" fmla="*/ 801 h 2897"/>
                <a:gd name="T108" fmla="*/ 2117 w 2403"/>
                <a:gd name="T109" fmla="*/ 835 h 2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403" h="2897">
                  <a:moveTo>
                    <a:pt x="2095" y="193"/>
                  </a:moveTo>
                  <a:lnTo>
                    <a:pt x="2095" y="193"/>
                  </a:lnTo>
                  <a:lnTo>
                    <a:pt x="2071" y="176"/>
                  </a:lnTo>
                  <a:lnTo>
                    <a:pt x="2046" y="159"/>
                  </a:lnTo>
                  <a:lnTo>
                    <a:pt x="2022" y="144"/>
                  </a:lnTo>
                  <a:lnTo>
                    <a:pt x="1998" y="129"/>
                  </a:lnTo>
                  <a:lnTo>
                    <a:pt x="1974" y="115"/>
                  </a:lnTo>
                  <a:lnTo>
                    <a:pt x="1948" y="101"/>
                  </a:lnTo>
                  <a:lnTo>
                    <a:pt x="1900" y="78"/>
                  </a:lnTo>
                  <a:lnTo>
                    <a:pt x="1852" y="57"/>
                  </a:lnTo>
                  <a:lnTo>
                    <a:pt x="1803" y="40"/>
                  </a:lnTo>
                  <a:lnTo>
                    <a:pt x="1757" y="25"/>
                  </a:lnTo>
                  <a:lnTo>
                    <a:pt x="1714" y="14"/>
                  </a:lnTo>
                  <a:lnTo>
                    <a:pt x="1671" y="6"/>
                  </a:lnTo>
                  <a:lnTo>
                    <a:pt x="1632" y="1"/>
                  </a:lnTo>
                  <a:lnTo>
                    <a:pt x="1613" y="0"/>
                  </a:lnTo>
                  <a:lnTo>
                    <a:pt x="1595" y="0"/>
                  </a:lnTo>
                  <a:lnTo>
                    <a:pt x="1580" y="0"/>
                  </a:lnTo>
                  <a:lnTo>
                    <a:pt x="1564" y="1"/>
                  </a:lnTo>
                  <a:lnTo>
                    <a:pt x="1548" y="2"/>
                  </a:lnTo>
                  <a:lnTo>
                    <a:pt x="1535" y="5"/>
                  </a:lnTo>
                  <a:lnTo>
                    <a:pt x="1521" y="8"/>
                  </a:lnTo>
                  <a:lnTo>
                    <a:pt x="1511" y="12"/>
                  </a:lnTo>
                  <a:lnTo>
                    <a:pt x="1500" y="17"/>
                  </a:lnTo>
                  <a:lnTo>
                    <a:pt x="1491" y="23"/>
                  </a:lnTo>
                  <a:lnTo>
                    <a:pt x="1484" y="29"/>
                  </a:lnTo>
                  <a:lnTo>
                    <a:pt x="1477" y="36"/>
                  </a:lnTo>
                  <a:lnTo>
                    <a:pt x="1477" y="36"/>
                  </a:lnTo>
                  <a:lnTo>
                    <a:pt x="1253" y="331"/>
                  </a:lnTo>
                  <a:lnTo>
                    <a:pt x="785" y="948"/>
                  </a:lnTo>
                  <a:lnTo>
                    <a:pt x="532" y="1283"/>
                  </a:lnTo>
                  <a:lnTo>
                    <a:pt x="304" y="1584"/>
                  </a:lnTo>
                  <a:lnTo>
                    <a:pt x="134" y="1813"/>
                  </a:lnTo>
                  <a:lnTo>
                    <a:pt x="78" y="1890"/>
                  </a:lnTo>
                  <a:lnTo>
                    <a:pt x="48" y="1933"/>
                  </a:lnTo>
                  <a:lnTo>
                    <a:pt x="48" y="1933"/>
                  </a:lnTo>
                  <a:lnTo>
                    <a:pt x="43" y="1943"/>
                  </a:lnTo>
                  <a:lnTo>
                    <a:pt x="38" y="1956"/>
                  </a:lnTo>
                  <a:lnTo>
                    <a:pt x="33" y="1974"/>
                  </a:lnTo>
                  <a:lnTo>
                    <a:pt x="30" y="1995"/>
                  </a:lnTo>
                  <a:lnTo>
                    <a:pt x="23" y="2047"/>
                  </a:lnTo>
                  <a:lnTo>
                    <a:pt x="15" y="2110"/>
                  </a:lnTo>
                  <a:lnTo>
                    <a:pt x="10" y="2181"/>
                  </a:lnTo>
                  <a:lnTo>
                    <a:pt x="6" y="2259"/>
                  </a:lnTo>
                  <a:lnTo>
                    <a:pt x="3" y="2340"/>
                  </a:lnTo>
                  <a:lnTo>
                    <a:pt x="1" y="2423"/>
                  </a:lnTo>
                  <a:lnTo>
                    <a:pt x="0" y="2507"/>
                  </a:lnTo>
                  <a:lnTo>
                    <a:pt x="1" y="2588"/>
                  </a:lnTo>
                  <a:lnTo>
                    <a:pt x="3" y="2663"/>
                  </a:lnTo>
                  <a:lnTo>
                    <a:pt x="7" y="2732"/>
                  </a:lnTo>
                  <a:lnTo>
                    <a:pt x="12" y="2790"/>
                  </a:lnTo>
                  <a:lnTo>
                    <a:pt x="15" y="2815"/>
                  </a:lnTo>
                  <a:lnTo>
                    <a:pt x="19" y="2837"/>
                  </a:lnTo>
                  <a:lnTo>
                    <a:pt x="23" y="2856"/>
                  </a:lnTo>
                  <a:lnTo>
                    <a:pt x="27" y="2871"/>
                  </a:lnTo>
                  <a:lnTo>
                    <a:pt x="32" y="2882"/>
                  </a:lnTo>
                  <a:lnTo>
                    <a:pt x="35" y="2885"/>
                  </a:lnTo>
                  <a:lnTo>
                    <a:pt x="37" y="2888"/>
                  </a:lnTo>
                  <a:lnTo>
                    <a:pt x="37" y="2888"/>
                  </a:lnTo>
                  <a:lnTo>
                    <a:pt x="42" y="2891"/>
                  </a:lnTo>
                  <a:lnTo>
                    <a:pt x="47" y="2893"/>
                  </a:lnTo>
                  <a:lnTo>
                    <a:pt x="60" y="2896"/>
                  </a:lnTo>
                  <a:lnTo>
                    <a:pt x="76" y="2897"/>
                  </a:lnTo>
                  <a:lnTo>
                    <a:pt x="95" y="2897"/>
                  </a:lnTo>
                  <a:lnTo>
                    <a:pt x="118" y="2896"/>
                  </a:lnTo>
                  <a:lnTo>
                    <a:pt x="144" y="2893"/>
                  </a:lnTo>
                  <a:lnTo>
                    <a:pt x="171" y="2888"/>
                  </a:lnTo>
                  <a:lnTo>
                    <a:pt x="202" y="2883"/>
                  </a:lnTo>
                  <a:lnTo>
                    <a:pt x="267" y="2868"/>
                  </a:lnTo>
                  <a:lnTo>
                    <a:pt x="340" y="2850"/>
                  </a:lnTo>
                  <a:lnTo>
                    <a:pt x="416" y="2829"/>
                  </a:lnTo>
                  <a:lnTo>
                    <a:pt x="494" y="2804"/>
                  </a:lnTo>
                  <a:lnTo>
                    <a:pt x="573" y="2778"/>
                  </a:lnTo>
                  <a:lnTo>
                    <a:pt x="650" y="2751"/>
                  </a:lnTo>
                  <a:lnTo>
                    <a:pt x="724" y="2722"/>
                  </a:lnTo>
                  <a:lnTo>
                    <a:pt x="793" y="2694"/>
                  </a:lnTo>
                  <a:lnTo>
                    <a:pt x="854" y="2666"/>
                  </a:lnTo>
                  <a:lnTo>
                    <a:pt x="880" y="2653"/>
                  </a:lnTo>
                  <a:lnTo>
                    <a:pt x="904" y="2641"/>
                  </a:lnTo>
                  <a:lnTo>
                    <a:pt x="926" y="2628"/>
                  </a:lnTo>
                  <a:lnTo>
                    <a:pt x="946" y="2617"/>
                  </a:lnTo>
                  <a:lnTo>
                    <a:pt x="960" y="2605"/>
                  </a:lnTo>
                  <a:lnTo>
                    <a:pt x="972" y="2595"/>
                  </a:lnTo>
                  <a:lnTo>
                    <a:pt x="972" y="2595"/>
                  </a:lnTo>
                  <a:lnTo>
                    <a:pt x="987" y="2578"/>
                  </a:lnTo>
                  <a:lnTo>
                    <a:pt x="1007" y="2554"/>
                  </a:lnTo>
                  <a:lnTo>
                    <a:pt x="1064" y="2480"/>
                  </a:lnTo>
                  <a:lnTo>
                    <a:pt x="1142" y="2380"/>
                  </a:lnTo>
                  <a:lnTo>
                    <a:pt x="1234" y="2257"/>
                  </a:lnTo>
                  <a:lnTo>
                    <a:pt x="1454" y="1961"/>
                  </a:lnTo>
                  <a:lnTo>
                    <a:pt x="1697" y="1630"/>
                  </a:lnTo>
                  <a:lnTo>
                    <a:pt x="1939" y="1298"/>
                  </a:lnTo>
                  <a:lnTo>
                    <a:pt x="2153" y="1004"/>
                  </a:lnTo>
                  <a:lnTo>
                    <a:pt x="2311" y="784"/>
                  </a:lnTo>
                  <a:lnTo>
                    <a:pt x="2390" y="675"/>
                  </a:lnTo>
                  <a:lnTo>
                    <a:pt x="2390" y="675"/>
                  </a:lnTo>
                  <a:lnTo>
                    <a:pt x="2395" y="665"/>
                  </a:lnTo>
                  <a:lnTo>
                    <a:pt x="2400" y="654"/>
                  </a:lnTo>
                  <a:lnTo>
                    <a:pt x="2402" y="643"/>
                  </a:lnTo>
                  <a:lnTo>
                    <a:pt x="2403" y="631"/>
                  </a:lnTo>
                  <a:lnTo>
                    <a:pt x="2403" y="618"/>
                  </a:lnTo>
                  <a:lnTo>
                    <a:pt x="2403" y="605"/>
                  </a:lnTo>
                  <a:lnTo>
                    <a:pt x="2401" y="591"/>
                  </a:lnTo>
                  <a:lnTo>
                    <a:pt x="2397" y="577"/>
                  </a:lnTo>
                  <a:lnTo>
                    <a:pt x="2392" y="562"/>
                  </a:lnTo>
                  <a:lnTo>
                    <a:pt x="2386" y="547"/>
                  </a:lnTo>
                  <a:lnTo>
                    <a:pt x="2380" y="531"/>
                  </a:lnTo>
                  <a:lnTo>
                    <a:pt x="2373" y="514"/>
                  </a:lnTo>
                  <a:lnTo>
                    <a:pt x="2355" y="481"/>
                  </a:lnTo>
                  <a:lnTo>
                    <a:pt x="2334" y="447"/>
                  </a:lnTo>
                  <a:lnTo>
                    <a:pt x="2310" y="412"/>
                  </a:lnTo>
                  <a:lnTo>
                    <a:pt x="2284" y="378"/>
                  </a:lnTo>
                  <a:lnTo>
                    <a:pt x="2255" y="345"/>
                  </a:lnTo>
                  <a:lnTo>
                    <a:pt x="2226" y="311"/>
                  </a:lnTo>
                  <a:lnTo>
                    <a:pt x="2193" y="279"/>
                  </a:lnTo>
                  <a:lnTo>
                    <a:pt x="2161" y="248"/>
                  </a:lnTo>
                  <a:lnTo>
                    <a:pt x="2128" y="220"/>
                  </a:lnTo>
                  <a:lnTo>
                    <a:pt x="2095" y="193"/>
                  </a:lnTo>
                  <a:lnTo>
                    <a:pt x="2095" y="193"/>
                  </a:lnTo>
                  <a:close/>
                  <a:moveTo>
                    <a:pt x="1398" y="308"/>
                  </a:moveTo>
                  <a:lnTo>
                    <a:pt x="1398" y="308"/>
                  </a:lnTo>
                  <a:lnTo>
                    <a:pt x="1400" y="306"/>
                  </a:lnTo>
                  <a:lnTo>
                    <a:pt x="1405" y="300"/>
                  </a:lnTo>
                  <a:lnTo>
                    <a:pt x="1415" y="294"/>
                  </a:lnTo>
                  <a:lnTo>
                    <a:pt x="1421" y="290"/>
                  </a:lnTo>
                  <a:lnTo>
                    <a:pt x="1428" y="288"/>
                  </a:lnTo>
                  <a:lnTo>
                    <a:pt x="1437" y="285"/>
                  </a:lnTo>
                  <a:lnTo>
                    <a:pt x="1445" y="284"/>
                  </a:lnTo>
                  <a:lnTo>
                    <a:pt x="1456" y="284"/>
                  </a:lnTo>
                  <a:lnTo>
                    <a:pt x="1468" y="287"/>
                  </a:lnTo>
                  <a:lnTo>
                    <a:pt x="1482" y="290"/>
                  </a:lnTo>
                  <a:lnTo>
                    <a:pt x="1495" y="295"/>
                  </a:lnTo>
                  <a:lnTo>
                    <a:pt x="1511" y="303"/>
                  </a:lnTo>
                  <a:lnTo>
                    <a:pt x="1528" y="313"/>
                  </a:lnTo>
                  <a:lnTo>
                    <a:pt x="1528" y="313"/>
                  </a:lnTo>
                  <a:lnTo>
                    <a:pt x="1542" y="325"/>
                  </a:lnTo>
                  <a:lnTo>
                    <a:pt x="1555" y="336"/>
                  </a:lnTo>
                  <a:lnTo>
                    <a:pt x="1565" y="347"/>
                  </a:lnTo>
                  <a:lnTo>
                    <a:pt x="1573" y="357"/>
                  </a:lnTo>
                  <a:lnTo>
                    <a:pt x="1580" y="368"/>
                  </a:lnTo>
                  <a:lnTo>
                    <a:pt x="1583" y="376"/>
                  </a:lnTo>
                  <a:lnTo>
                    <a:pt x="1586" y="386"/>
                  </a:lnTo>
                  <a:lnTo>
                    <a:pt x="1587" y="394"/>
                  </a:lnTo>
                  <a:lnTo>
                    <a:pt x="1588" y="401"/>
                  </a:lnTo>
                  <a:lnTo>
                    <a:pt x="1587" y="409"/>
                  </a:lnTo>
                  <a:lnTo>
                    <a:pt x="1584" y="420"/>
                  </a:lnTo>
                  <a:lnTo>
                    <a:pt x="1582" y="427"/>
                  </a:lnTo>
                  <a:lnTo>
                    <a:pt x="1581" y="429"/>
                  </a:lnTo>
                  <a:lnTo>
                    <a:pt x="337" y="2076"/>
                  </a:lnTo>
                  <a:lnTo>
                    <a:pt x="337" y="1902"/>
                  </a:lnTo>
                  <a:lnTo>
                    <a:pt x="239" y="1865"/>
                  </a:lnTo>
                  <a:lnTo>
                    <a:pt x="1398" y="308"/>
                  </a:lnTo>
                  <a:close/>
                  <a:moveTo>
                    <a:pt x="475" y="2657"/>
                  </a:moveTo>
                  <a:lnTo>
                    <a:pt x="475" y="2657"/>
                  </a:lnTo>
                  <a:lnTo>
                    <a:pt x="473" y="2660"/>
                  </a:lnTo>
                  <a:lnTo>
                    <a:pt x="469" y="2664"/>
                  </a:lnTo>
                  <a:lnTo>
                    <a:pt x="456" y="2671"/>
                  </a:lnTo>
                  <a:lnTo>
                    <a:pt x="439" y="2680"/>
                  </a:lnTo>
                  <a:lnTo>
                    <a:pt x="417" y="2689"/>
                  </a:lnTo>
                  <a:lnTo>
                    <a:pt x="364" y="2709"/>
                  </a:lnTo>
                  <a:lnTo>
                    <a:pt x="304" y="2729"/>
                  </a:lnTo>
                  <a:lnTo>
                    <a:pt x="244" y="2746"/>
                  </a:lnTo>
                  <a:lnTo>
                    <a:pt x="216" y="2754"/>
                  </a:lnTo>
                  <a:lnTo>
                    <a:pt x="191" y="2760"/>
                  </a:lnTo>
                  <a:lnTo>
                    <a:pt x="169" y="2764"/>
                  </a:lnTo>
                  <a:lnTo>
                    <a:pt x="152" y="2767"/>
                  </a:lnTo>
                  <a:lnTo>
                    <a:pt x="140" y="2767"/>
                  </a:lnTo>
                  <a:lnTo>
                    <a:pt x="135" y="2766"/>
                  </a:lnTo>
                  <a:lnTo>
                    <a:pt x="134" y="2763"/>
                  </a:lnTo>
                  <a:lnTo>
                    <a:pt x="134" y="2763"/>
                  </a:lnTo>
                  <a:lnTo>
                    <a:pt x="130" y="2756"/>
                  </a:lnTo>
                  <a:lnTo>
                    <a:pt x="129" y="2743"/>
                  </a:lnTo>
                  <a:lnTo>
                    <a:pt x="127" y="2723"/>
                  </a:lnTo>
                  <a:lnTo>
                    <a:pt x="127" y="2700"/>
                  </a:lnTo>
                  <a:lnTo>
                    <a:pt x="125" y="2643"/>
                  </a:lnTo>
                  <a:lnTo>
                    <a:pt x="127" y="2581"/>
                  </a:lnTo>
                  <a:lnTo>
                    <a:pt x="129" y="2518"/>
                  </a:lnTo>
                  <a:lnTo>
                    <a:pt x="133" y="2462"/>
                  </a:lnTo>
                  <a:lnTo>
                    <a:pt x="135" y="2440"/>
                  </a:lnTo>
                  <a:lnTo>
                    <a:pt x="137" y="2423"/>
                  </a:lnTo>
                  <a:lnTo>
                    <a:pt x="140" y="2411"/>
                  </a:lnTo>
                  <a:lnTo>
                    <a:pt x="141" y="2407"/>
                  </a:lnTo>
                  <a:lnTo>
                    <a:pt x="142" y="2406"/>
                  </a:lnTo>
                  <a:lnTo>
                    <a:pt x="142" y="2406"/>
                  </a:lnTo>
                  <a:lnTo>
                    <a:pt x="151" y="2404"/>
                  </a:lnTo>
                  <a:lnTo>
                    <a:pt x="159" y="2403"/>
                  </a:lnTo>
                  <a:lnTo>
                    <a:pt x="170" y="2403"/>
                  </a:lnTo>
                  <a:lnTo>
                    <a:pt x="181" y="2404"/>
                  </a:lnTo>
                  <a:lnTo>
                    <a:pt x="193" y="2406"/>
                  </a:lnTo>
                  <a:lnTo>
                    <a:pt x="206" y="2409"/>
                  </a:lnTo>
                  <a:lnTo>
                    <a:pt x="234" y="2418"/>
                  </a:lnTo>
                  <a:lnTo>
                    <a:pt x="263" y="2432"/>
                  </a:lnTo>
                  <a:lnTo>
                    <a:pt x="295" y="2447"/>
                  </a:lnTo>
                  <a:lnTo>
                    <a:pt x="325" y="2466"/>
                  </a:lnTo>
                  <a:lnTo>
                    <a:pt x="355" y="2486"/>
                  </a:lnTo>
                  <a:lnTo>
                    <a:pt x="384" y="2508"/>
                  </a:lnTo>
                  <a:lnTo>
                    <a:pt x="411" y="2531"/>
                  </a:lnTo>
                  <a:lnTo>
                    <a:pt x="435" y="2554"/>
                  </a:lnTo>
                  <a:lnTo>
                    <a:pt x="445" y="2565"/>
                  </a:lnTo>
                  <a:lnTo>
                    <a:pt x="454" y="2577"/>
                  </a:lnTo>
                  <a:lnTo>
                    <a:pt x="462" y="2588"/>
                  </a:lnTo>
                  <a:lnTo>
                    <a:pt x="469" y="2599"/>
                  </a:lnTo>
                  <a:lnTo>
                    <a:pt x="474" y="2610"/>
                  </a:lnTo>
                  <a:lnTo>
                    <a:pt x="477" y="2620"/>
                  </a:lnTo>
                  <a:lnTo>
                    <a:pt x="480" y="2630"/>
                  </a:lnTo>
                  <a:lnTo>
                    <a:pt x="480" y="2640"/>
                  </a:lnTo>
                  <a:lnTo>
                    <a:pt x="479" y="2649"/>
                  </a:lnTo>
                  <a:lnTo>
                    <a:pt x="475" y="2657"/>
                  </a:lnTo>
                  <a:lnTo>
                    <a:pt x="475" y="2657"/>
                  </a:lnTo>
                  <a:close/>
                  <a:moveTo>
                    <a:pt x="490" y="2117"/>
                  </a:moveTo>
                  <a:lnTo>
                    <a:pt x="1692" y="455"/>
                  </a:lnTo>
                  <a:lnTo>
                    <a:pt x="1692" y="455"/>
                  </a:lnTo>
                  <a:lnTo>
                    <a:pt x="1694" y="453"/>
                  </a:lnTo>
                  <a:lnTo>
                    <a:pt x="1699" y="450"/>
                  </a:lnTo>
                  <a:lnTo>
                    <a:pt x="1708" y="446"/>
                  </a:lnTo>
                  <a:lnTo>
                    <a:pt x="1713" y="444"/>
                  </a:lnTo>
                  <a:lnTo>
                    <a:pt x="1720" y="443"/>
                  </a:lnTo>
                  <a:lnTo>
                    <a:pt x="1728" y="443"/>
                  </a:lnTo>
                  <a:lnTo>
                    <a:pt x="1737" y="444"/>
                  </a:lnTo>
                  <a:lnTo>
                    <a:pt x="1748" y="445"/>
                  </a:lnTo>
                  <a:lnTo>
                    <a:pt x="1760" y="449"/>
                  </a:lnTo>
                  <a:lnTo>
                    <a:pt x="1773" y="452"/>
                  </a:lnTo>
                  <a:lnTo>
                    <a:pt x="1788" y="460"/>
                  </a:lnTo>
                  <a:lnTo>
                    <a:pt x="1803" y="468"/>
                  </a:lnTo>
                  <a:lnTo>
                    <a:pt x="1821" y="478"/>
                  </a:lnTo>
                  <a:lnTo>
                    <a:pt x="1821" y="478"/>
                  </a:lnTo>
                  <a:lnTo>
                    <a:pt x="1836" y="489"/>
                  </a:lnTo>
                  <a:lnTo>
                    <a:pt x="1849" y="499"/>
                  </a:lnTo>
                  <a:lnTo>
                    <a:pt x="1859" y="509"/>
                  </a:lnTo>
                  <a:lnTo>
                    <a:pt x="1867" y="520"/>
                  </a:lnTo>
                  <a:lnTo>
                    <a:pt x="1875" y="530"/>
                  </a:lnTo>
                  <a:lnTo>
                    <a:pt x="1880" y="539"/>
                  </a:lnTo>
                  <a:lnTo>
                    <a:pt x="1883" y="549"/>
                  </a:lnTo>
                  <a:lnTo>
                    <a:pt x="1887" y="558"/>
                  </a:lnTo>
                  <a:lnTo>
                    <a:pt x="1888" y="565"/>
                  </a:lnTo>
                  <a:lnTo>
                    <a:pt x="1888" y="572"/>
                  </a:lnTo>
                  <a:lnTo>
                    <a:pt x="1888" y="584"/>
                  </a:lnTo>
                  <a:lnTo>
                    <a:pt x="1887" y="591"/>
                  </a:lnTo>
                  <a:lnTo>
                    <a:pt x="1886" y="594"/>
                  </a:lnTo>
                  <a:lnTo>
                    <a:pt x="624" y="2291"/>
                  </a:lnTo>
                  <a:lnTo>
                    <a:pt x="624" y="2094"/>
                  </a:lnTo>
                  <a:lnTo>
                    <a:pt x="490" y="2117"/>
                  </a:lnTo>
                  <a:close/>
                  <a:moveTo>
                    <a:pt x="2117" y="835"/>
                  </a:moveTo>
                  <a:lnTo>
                    <a:pt x="937" y="2462"/>
                  </a:lnTo>
                  <a:lnTo>
                    <a:pt x="902" y="2386"/>
                  </a:lnTo>
                  <a:lnTo>
                    <a:pt x="750" y="2359"/>
                  </a:lnTo>
                  <a:lnTo>
                    <a:pt x="1973" y="677"/>
                  </a:lnTo>
                  <a:lnTo>
                    <a:pt x="1973" y="677"/>
                  </a:lnTo>
                  <a:lnTo>
                    <a:pt x="1975" y="676"/>
                  </a:lnTo>
                  <a:lnTo>
                    <a:pt x="1979" y="672"/>
                  </a:lnTo>
                  <a:lnTo>
                    <a:pt x="1987" y="669"/>
                  </a:lnTo>
                  <a:lnTo>
                    <a:pt x="1992" y="669"/>
                  </a:lnTo>
                  <a:lnTo>
                    <a:pt x="1998" y="668"/>
                  </a:lnTo>
                  <a:lnTo>
                    <a:pt x="2005" y="669"/>
                  </a:lnTo>
                  <a:lnTo>
                    <a:pt x="2014" y="670"/>
                  </a:lnTo>
                  <a:lnTo>
                    <a:pt x="2022" y="674"/>
                  </a:lnTo>
                  <a:lnTo>
                    <a:pt x="2032" y="679"/>
                  </a:lnTo>
                  <a:lnTo>
                    <a:pt x="2043" y="685"/>
                  </a:lnTo>
                  <a:lnTo>
                    <a:pt x="2055" y="693"/>
                  </a:lnTo>
                  <a:lnTo>
                    <a:pt x="2067" y="704"/>
                  </a:lnTo>
                  <a:lnTo>
                    <a:pt x="2080" y="718"/>
                  </a:lnTo>
                  <a:lnTo>
                    <a:pt x="2080" y="718"/>
                  </a:lnTo>
                  <a:lnTo>
                    <a:pt x="2091" y="731"/>
                  </a:lnTo>
                  <a:lnTo>
                    <a:pt x="2101" y="741"/>
                  </a:lnTo>
                  <a:lnTo>
                    <a:pt x="2108" y="754"/>
                  </a:lnTo>
                  <a:lnTo>
                    <a:pt x="2113" y="764"/>
                  </a:lnTo>
                  <a:lnTo>
                    <a:pt x="2118" y="774"/>
                  </a:lnTo>
                  <a:lnTo>
                    <a:pt x="2120" y="784"/>
                  </a:lnTo>
                  <a:lnTo>
                    <a:pt x="2121" y="793"/>
                  </a:lnTo>
                  <a:lnTo>
                    <a:pt x="2123" y="801"/>
                  </a:lnTo>
                  <a:lnTo>
                    <a:pt x="2121" y="815"/>
                  </a:lnTo>
                  <a:lnTo>
                    <a:pt x="2120" y="826"/>
                  </a:lnTo>
                  <a:lnTo>
                    <a:pt x="2118" y="832"/>
                  </a:lnTo>
                  <a:lnTo>
                    <a:pt x="2117" y="835"/>
                  </a:lnTo>
                  <a:lnTo>
                    <a:pt x="2117" y="83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11161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1231542" y="493707"/>
            <a:ext cx="758541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 latinLnBrk="0"/>
            <a:r>
              <a:rPr lang="ko-KR" altLang="en-US" sz="2200" dirty="0" smtClean="0">
                <a:solidFill>
                  <a:schemeClr val="accent1">
                    <a:lumMod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쇄신과제 ③</a:t>
            </a:r>
            <a:r>
              <a:rPr lang="ko-KR" altLang="en-US" sz="2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편적 </a:t>
            </a:r>
            <a:r>
              <a:rPr lang="ko-KR" altLang="en-US" sz="22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복지</a:t>
            </a:r>
            <a:r>
              <a:rPr lang="ko-KR" altLang="en-US" sz="2200" dirty="0">
                <a:latin typeface="HY견고딕" panose="02030600000101010101" pitchFamily="18" charset="-127"/>
                <a:ea typeface="HY견고딕" panose="02030600000101010101" pitchFamily="18" charset="-127"/>
              </a:rPr>
              <a:t>와 </a:t>
            </a:r>
            <a:r>
              <a:rPr lang="ko-KR" altLang="en-US" sz="22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선택적 복지</a:t>
            </a:r>
            <a:r>
              <a:rPr lang="ko-KR" altLang="en-US" sz="2200" dirty="0">
                <a:latin typeface="HY견고딕" panose="02030600000101010101" pitchFamily="18" charset="-127"/>
                <a:ea typeface="HY견고딕" panose="02030600000101010101" pitchFamily="18" charset="-127"/>
              </a:rPr>
              <a:t>의 조화로운 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발전</a:t>
            </a:r>
            <a:endParaRPr lang="ko-KR" altLang="en-US" sz="22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841449" y="5415352"/>
            <a:ext cx="811835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2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복지업무의 중추기능 재인식</a:t>
            </a:r>
            <a:r>
              <a:rPr lang="en-US" altLang="ko-KR" sz="2200" dirty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200" dirty="0">
                <a:latin typeface="HY견고딕" panose="02030600000101010101" pitchFamily="18" charset="-127"/>
                <a:ea typeface="HY견고딕" panose="02030600000101010101" pitchFamily="18" charset="-127"/>
              </a:rPr>
              <a:t>지원의 대상과 범위</a:t>
            </a:r>
            <a:r>
              <a:rPr lang="en-US" altLang="ko-KR" sz="2200" dirty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200" dirty="0">
                <a:latin typeface="HY견고딕" panose="02030600000101010101" pitchFamily="18" charset="-127"/>
                <a:ea typeface="HY견고딕" panose="02030600000101010101" pitchFamily="18" charset="-127"/>
              </a:rPr>
              <a:t>방법과 시기 등 종합적 검토 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강화</a:t>
            </a:r>
            <a:endParaRPr lang="ko-KR" altLang="en-US" sz="22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61823" y="1399289"/>
            <a:ext cx="8344242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복지포퓰리즘에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대한 심층검토 </a:t>
            </a:r>
            <a:r>
              <a:rPr lang="ko-KR" altLang="en-US" sz="16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무상복지 우선순위 재검토로 단계적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점진적 지급 확대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·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복지업무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①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범부처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전체 입장에서 종합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협력 추진 </a:t>
            </a:r>
            <a:r>
              <a:rPr lang="ko-KR" altLang="en-US" sz="14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→</a:t>
            </a:r>
            <a:r>
              <a:rPr lang="ko-KR" altLang="en-US" sz="14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중복지원 및 복지사각지대 해소</a:t>
            </a:r>
            <a:endParaRPr lang="ko-KR" altLang="en-US" sz="1400" spc="-1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·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복지업무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②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법규 및 각종 지침 등 정비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기본적인 법령체계 재정비 </a:t>
            </a:r>
            <a:r>
              <a:rPr lang="ko-KR" altLang="en-US" sz="14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→</a:t>
            </a:r>
            <a:r>
              <a:rPr lang="ko-KR" altLang="en-US" sz="14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지원제도의 안정성 확보</a:t>
            </a:r>
            <a:endParaRPr lang="ko-KR" altLang="en-US" sz="1400" spc="-1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2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복지수요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증대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재정부담액 증가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재정 충당의 한계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무상복지혜택 선택제도」 활성화 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※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상류층까지 무상복지 제공은 복지서비스가 절실한 대상자 배제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복지사각지대 미해결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결과 </a:t>
            </a:r>
          </a:p>
          <a:p>
            <a:pPr fontAlgn="base">
              <a:lnSpc>
                <a:spcPct val="2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중앙과 지방간 재정분담 갈등 증폭 </a:t>
            </a:r>
            <a:r>
              <a:rPr lang="ko-KR" altLang="en-US" sz="16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어린이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복지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보육예산 분담 등 사회적 합의 적극 추진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※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중앙과 지방간 재정분담기준 재정립과 민간재원 연계 활용 확대 등 통한 시너지효과 추진</a:t>
            </a:r>
          </a:p>
          <a:p>
            <a:pPr fontAlgn="base">
              <a:lnSpc>
                <a:spcPct val="2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총론 중심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단기현안 위주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중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장기적 한국형 복지모델 정립 및 「미래발전계획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」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연계 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30" name="오른쪽 화살표 29"/>
          <p:cNvSpPr/>
          <p:nvPr/>
        </p:nvSpPr>
        <p:spPr>
          <a:xfrm>
            <a:off x="3502469" y="157863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1" name="오른쪽 화살표 30"/>
          <p:cNvSpPr/>
          <p:nvPr/>
        </p:nvSpPr>
        <p:spPr>
          <a:xfrm>
            <a:off x="3065445" y="461392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2" name="오른쪽 화살표 31"/>
          <p:cNvSpPr/>
          <p:nvPr/>
        </p:nvSpPr>
        <p:spPr>
          <a:xfrm>
            <a:off x="5241669" y="276985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3" name="오른쪽 화살표 32"/>
          <p:cNvSpPr/>
          <p:nvPr/>
        </p:nvSpPr>
        <p:spPr>
          <a:xfrm>
            <a:off x="3837513" y="367781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4" name="오른쪽 화살표 33"/>
          <p:cNvSpPr/>
          <p:nvPr/>
        </p:nvSpPr>
        <p:spPr>
          <a:xfrm>
            <a:off x="406605" y="5551297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35" name="그룹 34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36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39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40" name="TextBox 39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41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7" name="그림 3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  <p:grpSp>
        <p:nvGrpSpPr>
          <p:cNvPr id="4" name="그룹 3"/>
          <p:cNvGrpSpPr/>
          <p:nvPr/>
        </p:nvGrpSpPr>
        <p:grpSpPr>
          <a:xfrm>
            <a:off x="858476" y="493707"/>
            <a:ext cx="433997" cy="433997"/>
            <a:chOff x="1053286" y="515021"/>
            <a:chExt cx="433997" cy="433997"/>
          </a:xfrm>
        </p:grpSpPr>
        <p:sp>
          <p:nvSpPr>
            <p:cNvPr id="20" name="Oval 45"/>
            <p:cNvSpPr/>
            <p:nvPr/>
          </p:nvSpPr>
          <p:spPr>
            <a:xfrm>
              <a:off x="1053286" y="515021"/>
              <a:ext cx="433997" cy="433997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Freeform 13"/>
            <p:cNvSpPr>
              <a:spLocks noEditPoints="1"/>
            </p:cNvSpPr>
            <p:nvPr/>
          </p:nvSpPr>
          <p:spPr bwMode="auto">
            <a:xfrm rot="10585247" flipV="1">
              <a:off x="1160800" y="600128"/>
              <a:ext cx="218969" cy="263783"/>
            </a:xfrm>
            <a:custGeom>
              <a:avLst/>
              <a:gdLst>
                <a:gd name="T0" fmla="*/ 2022 w 2403"/>
                <a:gd name="T1" fmla="*/ 144 h 2897"/>
                <a:gd name="T2" fmla="*/ 1852 w 2403"/>
                <a:gd name="T3" fmla="*/ 57 h 2897"/>
                <a:gd name="T4" fmla="*/ 1632 w 2403"/>
                <a:gd name="T5" fmla="*/ 1 h 2897"/>
                <a:gd name="T6" fmla="*/ 1548 w 2403"/>
                <a:gd name="T7" fmla="*/ 2 h 2897"/>
                <a:gd name="T8" fmla="*/ 1491 w 2403"/>
                <a:gd name="T9" fmla="*/ 23 h 2897"/>
                <a:gd name="T10" fmla="*/ 785 w 2403"/>
                <a:gd name="T11" fmla="*/ 948 h 2897"/>
                <a:gd name="T12" fmla="*/ 48 w 2403"/>
                <a:gd name="T13" fmla="*/ 1933 h 2897"/>
                <a:gd name="T14" fmla="*/ 30 w 2403"/>
                <a:gd name="T15" fmla="*/ 1995 h 2897"/>
                <a:gd name="T16" fmla="*/ 3 w 2403"/>
                <a:gd name="T17" fmla="*/ 2340 h 2897"/>
                <a:gd name="T18" fmla="*/ 7 w 2403"/>
                <a:gd name="T19" fmla="*/ 2732 h 2897"/>
                <a:gd name="T20" fmla="*/ 27 w 2403"/>
                <a:gd name="T21" fmla="*/ 2871 h 2897"/>
                <a:gd name="T22" fmla="*/ 42 w 2403"/>
                <a:gd name="T23" fmla="*/ 2891 h 2897"/>
                <a:gd name="T24" fmla="*/ 118 w 2403"/>
                <a:gd name="T25" fmla="*/ 2896 h 2897"/>
                <a:gd name="T26" fmla="*/ 340 w 2403"/>
                <a:gd name="T27" fmla="*/ 2850 h 2897"/>
                <a:gd name="T28" fmla="*/ 724 w 2403"/>
                <a:gd name="T29" fmla="*/ 2722 h 2897"/>
                <a:gd name="T30" fmla="*/ 926 w 2403"/>
                <a:gd name="T31" fmla="*/ 2628 h 2897"/>
                <a:gd name="T32" fmla="*/ 987 w 2403"/>
                <a:gd name="T33" fmla="*/ 2578 h 2897"/>
                <a:gd name="T34" fmla="*/ 1454 w 2403"/>
                <a:gd name="T35" fmla="*/ 1961 h 2897"/>
                <a:gd name="T36" fmla="*/ 2390 w 2403"/>
                <a:gd name="T37" fmla="*/ 675 h 2897"/>
                <a:gd name="T38" fmla="*/ 2403 w 2403"/>
                <a:gd name="T39" fmla="*/ 631 h 2897"/>
                <a:gd name="T40" fmla="*/ 2392 w 2403"/>
                <a:gd name="T41" fmla="*/ 562 h 2897"/>
                <a:gd name="T42" fmla="*/ 2334 w 2403"/>
                <a:gd name="T43" fmla="*/ 447 h 2897"/>
                <a:gd name="T44" fmla="*/ 2193 w 2403"/>
                <a:gd name="T45" fmla="*/ 279 h 2897"/>
                <a:gd name="T46" fmla="*/ 1398 w 2403"/>
                <a:gd name="T47" fmla="*/ 308 h 2897"/>
                <a:gd name="T48" fmla="*/ 1421 w 2403"/>
                <a:gd name="T49" fmla="*/ 290 h 2897"/>
                <a:gd name="T50" fmla="*/ 1468 w 2403"/>
                <a:gd name="T51" fmla="*/ 287 h 2897"/>
                <a:gd name="T52" fmla="*/ 1528 w 2403"/>
                <a:gd name="T53" fmla="*/ 313 h 2897"/>
                <a:gd name="T54" fmla="*/ 1580 w 2403"/>
                <a:gd name="T55" fmla="*/ 368 h 2897"/>
                <a:gd name="T56" fmla="*/ 1587 w 2403"/>
                <a:gd name="T57" fmla="*/ 409 h 2897"/>
                <a:gd name="T58" fmla="*/ 337 w 2403"/>
                <a:gd name="T59" fmla="*/ 1902 h 2897"/>
                <a:gd name="T60" fmla="*/ 473 w 2403"/>
                <a:gd name="T61" fmla="*/ 2660 h 2897"/>
                <a:gd name="T62" fmla="*/ 364 w 2403"/>
                <a:gd name="T63" fmla="*/ 2709 h 2897"/>
                <a:gd name="T64" fmla="*/ 169 w 2403"/>
                <a:gd name="T65" fmla="*/ 2764 h 2897"/>
                <a:gd name="T66" fmla="*/ 134 w 2403"/>
                <a:gd name="T67" fmla="*/ 2763 h 2897"/>
                <a:gd name="T68" fmla="*/ 125 w 2403"/>
                <a:gd name="T69" fmla="*/ 2643 h 2897"/>
                <a:gd name="T70" fmla="*/ 137 w 2403"/>
                <a:gd name="T71" fmla="*/ 2423 h 2897"/>
                <a:gd name="T72" fmla="*/ 151 w 2403"/>
                <a:gd name="T73" fmla="*/ 2404 h 2897"/>
                <a:gd name="T74" fmla="*/ 206 w 2403"/>
                <a:gd name="T75" fmla="*/ 2409 h 2897"/>
                <a:gd name="T76" fmla="*/ 355 w 2403"/>
                <a:gd name="T77" fmla="*/ 2486 h 2897"/>
                <a:gd name="T78" fmla="*/ 454 w 2403"/>
                <a:gd name="T79" fmla="*/ 2577 h 2897"/>
                <a:gd name="T80" fmla="*/ 480 w 2403"/>
                <a:gd name="T81" fmla="*/ 2630 h 2897"/>
                <a:gd name="T82" fmla="*/ 490 w 2403"/>
                <a:gd name="T83" fmla="*/ 2117 h 2897"/>
                <a:gd name="T84" fmla="*/ 1708 w 2403"/>
                <a:gd name="T85" fmla="*/ 446 h 2897"/>
                <a:gd name="T86" fmla="*/ 1748 w 2403"/>
                <a:gd name="T87" fmla="*/ 445 h 2897"/>
                <a:gd name="T88" fmla="*/ 1821 w 2403"/>
                <a:gd name="T89" fmla="*/ 478 h 2897"/>
                <a:gd name="T90" fmla="*/ 1867 w 2403"/>
                <a:gd name="T91" fmla="*/ 520 h 2897"/>
                <a:gd name="T92" fmla="*/ 1888 w 2403"/>
                <a:gd name="T93" fmla="*/ 565 h 2897"/>
                <a:gd name="T94" fmla="*/ 624 w 2403"/>
                <a:gd name="T95" fmla="*/ 2291 h 2897"/>
                <a:gd name="T96" fmla="*/ 902 w 2403"/>
                <a:gd name="T97" fmla="*/ 2386 h 2897"/>
                <a:gd name="T98" fmla="*/ 1979 w 2403"/>
                <a:gd name="T99" fmla="*/ 672 h 2897"/>
                <a:gd name="T100" fmla="*/ 2014 w 2403"/>
                <a:gd name="T101" fmla="*/ 670 h 2897"/>
                <a:gd name="T102" fmla="*/ 2067 w 2403"/>
                <a:gd name="T103" fmla="*/ 704 h 2897"/>
                <a:gd name="T104" fmla="*/ 2108 w 2403"/>
                <a:gd name="T105" fmla="*/ 754 h 2897"/>
                <a:gd name="T106" fmla="*/ 2123 w 2403"/>
                <a:gd name="T107" fmla="*/ 801 h 2897"/>
                <a:gd name="T108" fmla="*/ 2117 w 2403"/>
                <a:gd name="T109" fmla="*/ 835 h 2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403" h="2897">
                  <a:moveTo>
                    <a:pt x="2095" y="193"/>
                  </a:moveTo>
                  <a:lnTo>
                    <a:pt x="2095" y="193"/>
                  </a:lnTo>
                  <a:lnTo>
                    <a:pt x="2071" y="176"/>
                  </a:lnTo>
                  <a:lnTo>
                    <a:pt x="2046" y="159"/>
                  </a:lnTo>
                  <a:lnTo>
                    <a:pt x="2022" y="144"/>
                  </a:lnTo>
                  <a:lnTo>
                    <a:pt x="1998" y="129"/>
                  </a:lnTo>
                  <a:lnTo>
                    <a:pt x="1974" y="115"/>
                  </a:lnTo>
                  <a:lnTo>
                    <a:pt x="1948" y="101"/>
                  </a:lnTo>
                  <a:lnTo>
                    <a:pt x="1900" y="78"/>
                  </a:lnTo>
                  <a:lnTo>
                    <a:pt x="1852" y="57"/>
                  </a:lnTo>
                  <a:lnTo>
                    <a:pt x="1803" y="40"/>
                  </a:lnTo>
                  <a:lnTo>
                    <a:pt x="1757" y="25"/>
                  </a:lnTo>
                  <a:lnTo>
                    <a:pt x="1714" y="14"/>
                  </a:lnTo>
                  <a:lnTo>
                    <a:pt x="1671" y="6"/>
                  </a:lnTo>
                  <a:lnTo>
                    <a:pt x="1632" y="1"/>
                  </a:lnTo>
                  <a:lnTo>
                    <a:pt x="1613" y="0"/>
                  </a:lnTo>
                  <a:lnTo>
                    <a:pt x="1595" y="0"/>
                  </a:lnTo>
                  <a:lnTo>
                    <a:pt x="1580" y="0"/>
                  </a:lnTo>
                  <a:lnTo>
                    <a:pt x="1564" y="1"/>
                  </a:lnTo>
                  <a:lnTo>
                    <a:pt x="1548" y="2"/>
                  </a:lnTo>
                  <a:lnTo>
                    <a:pt x="1535" y="5"/>
                  </a:lnTo>
                  <a:lnTo>
                    <a:pt x="1521" y="8"/>
                  </a:lnTo>
                  <a:lnTo>
                    <a:pt x="1511" y="12"/>
                  </a:lnTo>
                  <a:lnTo>
                    <a:pt x="1500" y="17"/>
                  </a:lnTo>
                  <a:lnTo>
                    <a:pt x="1491" y="23"/>
                  </a:lnTo>
                  <a:lnTo>
                    <a:pt x="1484" y="29"/>
                  </a:lnTo>
                  <a:lnTo>
                    <a:pt x="1477" y="36"/>
                  </a:lnTo>
                  <a:lnTo>
                    <a:pt x="1477" y="36"/>
                  </a:lnTo>
                  <a:lnTo>
                    <a:pt x="1253" y="331"/>
                  </a:lnTo>
                  <a:lnTo>
                    <a:pt x="785" y="948"/>
                  </a:lnTo>
                  <a:lnTo>
                    <a:pt x="532" y="1283"/>
                  </a:lnTo>
                  <a:lnTo>
                    <a:pt x="304" y="1584"/>
                  </a:lnTo>
                  <a:lnTo>
                    <a:pt x="134" y="1813"/>
                  </a:lnTo>
                  <a:lnTo>
                    <a:pt x="78" y="1890"/>
                  </a:lnTo>
                  <a:lnTo>
                    <a:pt x="48" y="1933"/>
                  </a:lnTo>
                  <a:lnTo>
                    <a:pt x="48" y="1933"/>
                  </a:lnTo>
                  <a:lnTo>
                    <a:pt x="43" y="1943"/>
                  </a:lnTo>
                  <a:lnTo>
                    <a:pt x="38" y="1956"/>
                  </a:lnTo>
                  <a:lnTo>
                    <a:pt x="33" y="1974"/>
                  </a:lnTo>
                  <a:lnTo>
                    <a:pt x="30" y="1995"/>
                  </a:lnTo>
                  <a:lnTo>
                    <a:pt x="23" y="2047"/>
                  </a:lnTo>
                  <a:lnTo>
                    <a:pt x="15" y="2110"/>
                  </a:lnTo>
                  <a:lnTo>
                    <a:pt x="10" y="2181"/>
                  </a:lnTo>
                  <a:lnTo>
                    <a:pt x="6" y="2259"/>
                  </a:lnTo>
                  <a:lnTo>
                    <a:pt x="3" y="2340"/>
                  </a:lnTo>
                  <a:lnTo>
                    <a:pt x="1" y="2423"/>
                  </a:lnTo>
                  <a:lnTo>
                    <a:pt x="0" y="2507"/>
                  </a:lnTo>
                  <a:lnTo>
                    <a:pt x="1" y="2588"/>
                  </a:lnTo>
                  <a:lnTo>
                    <a:pt x="3" y="2663"/>
                  </a:lnTo>
                  <a:lnTo>
                    <a:pt x="7" y="2732"/>
                  </a:lnTo>
                  <a:lnTo>
                    <a:pt x="12" y="2790"/>
                  </a:lnTo>
                  <a:lnTo>
                    <a:pt x="15" y="2815"/>
                  </a:lnTo>
                  <a:lnTo>
                    <a:pt x="19" y="2837"/>
                  </a:lnTo>
                  <a:lnTo>
                    <a:pt x="23" y="2856"/>
                  </a:lnTo>
                  <a:lnTo>
                    <a:pt x="27" y="2871"/>
                  </a:lnTo>
                  <a:lnTo>
                    <a:pt x="32" y="2882"/>
                  </a:lnTo>
                  <a:lnTo>
                    <a:pt x="35" y="2885"/>
                  </a:lnTo>
                  <a:lnTo>
                    <a:pt x="37" y="2888"/>
                  </a:lnTo>
                  <a:lnTo>
                    <a:pt x="37" y="2888"/>
                  </a:lnTo>
                  <a:lnTo>
                    <a:pt x="42" y="2891"/>
                  </a:lnTo>
                  <a:lnTo>
                    <a:pt x="47" y="2893"/>
                  </a:lnTo>
                  <a:lnTo>
                    <a:pt x="60" y="2896"/>
                  </a:lnTo>
                  <a:lnTo>
                    <a:pt x="76" y="2897"/>
                  </a:lnTo>
                  <a:lnTo>
                    <a:pt x="95" y="2897"/>
                  </a:lnTo>
                  <a:lnTo>
                    <a:pt x="118" y="2896"/>
                  </a:lnTo>
                  <a:lnTo>
                    <a:pt x="144" y="2893"/>
                  </a:lnTo>
                  <a:lnTo>
                    <a:pt x="171" y="2888"/>
                  </a:lnTo>
                  <a:lnTo>
                    <a:pt x="202" y="2883"/>
                  </a:lnTo>
                  <a:lnTo>
                    <a:pt x="267" y="2868"/>
                  </a:lnTo>
                  <a:lnTo>
                    <a:pt x="340" y="2850"/>
                  </a:lnTo>
                  <a:lnTo>
                    <a:pt x="416" y="2829"/>
                  </a:lnTo>
                  <a:lnTo>
                    <a:pt x="494" y="2804"/>
                  </a:lnTo>
                  <a:lnTo>
                    <a:pt x="573" y="2778"/>
                  </a:lnTo>
                  <a:lnTo>
                    <a:pt x="650" y="2751"/>
                  </a:lnTo>
                  <a:lnTo>
                    <a:pt x="724" y="2722"/>
                  </a:lnTo>
                  <a:lnTo>
                    <a:pt x="793" y="2694"/>
                  </a:lnTo>
                  <a:lnTo>
                    <a:pt x="854" y="2666"/>
                  </a:lnTo>
                  <a:lnTo>
                    <a:pt x="880" y="2653"/>
                  </a:lnTo>
                  <a:lnTo>
                    <a:pt x="904" y="2641"/>
                  </a:lnTo>
                  <a:lnTo>
                    <a:pt x="926" y="2628"/>
                  </a:lnTo>
                  <a:lnTo>
                    <a:pt x="946" y="2617"/>
                  </a:lnTo>
                  <a:lnTo>
                    <a:pt x="960" y="2605"/>
                  </a:lnTo>
                  <a:lnTo>
                    <a:pt x="972" y="2595"/>
                  </a:lnTo>
                  <a:lnTo>
                    <a:pt x="972" y="2595"/>
                  </a:lnTo>
                  <a:lnTo>
                    <a:pt x="987" y="2578"/>
                  </a:lnTo>
                  <a:lnTo>
                    <a:pt x="1007" y="2554"/>
                  </a:lnTo>
                  <a:lnTo>
                    <a:pt x="1064" y="2480"/>
                  </a:lnTo>
                  <a:lnTo>
                    <a:pt x="1142" y="2380"/>
                  </a:lnTo>
                  <a:lnTo>
                    <a:pt x="1234" y="2257"/>
                  </a:lnTo>
                  <a:lnTo>
                    <a:pt x="1454" y="1961"/>
                  </a:lnTo>
                  <a:lnTo>
                    <a:pt x="1697" y="1630"/>
                  </a:lnTo>
                  <a:lnTo>
                    <a:pt x="1939" y="1298"/>
                  </a:lnTo>
                  <a:lnTo>
                    <a:pt x="2153" y="1004"/>
                  </a:lnTo>
                  <a:lnTo>
                    <a:pt x="2311" y="784"/>
                  </a:lnTo>
                  <a:lnTo>
                    <a:pt x="2390" y="675"/>
                  </a:lnTo>
                  <a:lnTo>
                    <a:pt x="2390" y="675"/>
                  </a:lnTo>
                  <a:lnTo>
                    <a:pt x="2395" y="665"/>
                  </a:lnTo>
                  <a:lnTo>
                    <a:pt x="2400" y="654"/>
                  </a:lnTo>
                  <a:lnTo>
                    <a:pt x="2402" y="643"/>
                  </a:lnTo>
                  <a:lnTo>
                    <a:pt x="2403" y="631"/>
                  </a:lnTo>
                  <a:lnTo>
                    <a:pt x="2403" y="618"/>
                  </a:lnTo>
                  <a:lnTo>
                    <a:pt x="2403" y="605"/>
                  </a:lnTo>
                  <a:lnTo>
                    <a:pt x="2401" y="591"/>
                  </a:lnTo>
                  <a:lnTo>
                    <a:pt x="2397" y="577"/>
                  </a:lnTo>
                  <a:lnTo>
                    <a:pt x="2392" y="562"/>
                  </a:lnTo>
                  <a:lnTo>
                    <a:pt x="2386" y="547"/>
                  </a:lnTo>
                  <a:lnTo>
                    <a:pt x="2380" y="531"/>
                  </a:lnTo>
                  <a:lnTo>
                    <a:pt x="2373" y="514"/>
                  </a:lnTo>
                  <a:lnTo>
                    <a:pt x="2355" y="481"/>
                  </a:lnTo>
                  <a:lnTo>
                    <a:pt x="2334" y="447"/>
                  </a:lnTo>
                  <a:lnTo>
                    <a:pt x="2310" y="412"/>
                  </a:lnTo>
                  <a:lnTo>
                    <a:pt x="2284" y="378"/>
                  </a:lnTo>
                  <a:lnTo>
                    <a:pt x="2255" y="345"/>
                  </a:lnTo>
                  <a:lnTo>
                    <a:pt x="2226" y="311"/>
                  </a:lnTo>
                  <a:lnTo>
                    <a:pt x="2193" y="279"/>
                  </a:lnTo>
                  <a:lnTo>
                    <a:pt x="2161" y="248"/>
                  </a:lnTo>
                  <a:lnTo>
                    <a:pt x="2128" y="220"/>
                  </a:lnTo>
                  <a:lnTo>
                    <a:pt x="2095" y="193"/>
                  </a:lnTo>
                  <a:lnTo>
                    <a:pt x="2095" y="193"/>
                  </a:lnTo>
                  <a:close/>
                  <a:moveTo>
                    <a:pt x="1398" y="308"/>
                  </a:moveTo>
                  <a:lnTo>
                    <a:pt x="1398" y="308"/>
                  </a:lnTo>
                  <a:lnTo>
                    <a:pt x="1400" y="306"/>
                  </a:lnTo>
                  <a:lnTo>
                    <a:pt x="1405" y="300"/>
                  </a:lnTo>
                  <a:lnTo>
                    <a:pt x="1415" y="294"/>
                  </a:lnTo>
                  <a:lnTo>
                    <a:pt x="1421" y="290"/>
                  </a:lnTo>
                  <a:lnTo>
                    <a:pt x="1428" y="288"/>
                  </a:lnTo>
                  <a:lnTo>
                    <a:pt x="1437" y="285"/>
                  </a:lnTo>
                  <a:lnTo>
                    <a:pt x="1445" y="284"/>
                  </a:lnTo>
                  <a:lnTo>
                    <a:pt x="1456" y="284"/>
                  </a:lnTo>
                  <a:lnTo>
                    <a:pt x="1468" y="287"/>
                  </a:lnTo>
                  <a:lnTo>
                    <a:pt x="1482" y="290"/>
                  </a:lnTo>
                  <a:lnTo>
                    <a:pt x="1495" y="295"/>
                  </a:lnTo>
                  <a:lnTo>
                    <a:pt x="1511" y="303"/>
                  </a:lnTo>
                  <a:lnTo>
                    <a:pt x="1528" y="313"/>
                  </a:lnTo>
                  <a:lnTo>
                    <a:pt x="1528" y="313"/>
                  </a:lnTo>
                  <a:lnTo>
                    <a:pt x="1542" y="325"/>
                  </a:lnTo>
                  <a:lnTo>
                    <a:pt x="1555" y="336"/>
                  </a:lnTo>
                  <a:lnTo>
                    <a:pt x="1565" y="347"/>
                  </a:lnTo>
                  <a:lnTo>
                    <a:pt x="1573" y="357"/>
                  </a:lnTo>
                  <a:lnTo>
                    <a:pt x="1580" y="368"/>
                  </a:lnTo>
                  <a:lnTo>
                    <a:pt x="1583" y="376"/>
                  </a:lnTo>
                  <a:lnTo>
                    <a:pt x="1586" y="386"/>
                  </a:lnTo>
                  <a:lnTo>
                    <a:pt x="1587" y="394"/>
                  </a:lnTo>
                  <a:lnTo>
                    <a:pt x="1588" y="401"/>
                  </a:lnTo>
                  <a:lnTo>
                    <a:pt x="1587" y="409"/>
                  </a:lnTo>
                  <a:lnTo>
                    <a:pt x="1584" y="420"/>
                  </a:lnTo>
                  <a:lnTo>
                    <a:pt x="1582" y="427"/>
                  </a:lnTo>
                  <a:lnTo>
                    <a:pt x="1581" y="429"/>
                  </a:lnTo>
                  <a:lnTo>
                    <a:pt x="337" y="2076"/>
                  </a:lnTo>
                  <a:lnTo>
                    <a:pt x="337" y="1902"/>
                  </a:lnTo>
                  <a:lnTo>
                    <a:pt x="239" y="1865"/>
                  </a:lnTo>
                  <a:lnTo>
                    <a:pt x="1398" y="308"/>
                  </a:lnTo>
                  <a:close/>
                  <a:moveTo>
                    <a:pt x="475" y="2657"/>
                  </a:moveTo>
                  <a:lnTo>
                    <a:pt x="475" y="2657"/>
                  </a:lnTo>
                  <a:lnTo>
                    <a:pt x="473" y="2660"/>
                  </a:lnTo>
                  <a:lnTo>
                    <a:pt x="469" y="2664"/>
                  </a:lnTo>
                  <a:lnTo>
                    <a:pt x="456" y="2671"/>
                  </a:lnTo>
                  <a:lnTo>
                    <a:pt x="439" y="2680"/>
                  </a:lnTo>
                  <a:lnTo>
                    <a:pt x="417" y="2689"/>
                  </a:lnTo>
                  <a:lnTo>
                    <a:pt x="364" y="2709"/>
                  </a:lnTo>
                  <a:lnTo>
                    <a:pt x="304" y="2729"/>
                  </a:lnTo>
                  <a:lnTo>
                    <a:pt x="244" y="2746"/>
                  </a:lnTo>
                  <a:lnTo>
                    <a:pt x="216" y="2754"/>
                  </a:lnTo>
                  <a:lnTo>
                    <a:pt x="191" y="2760"/>
                  </a:lnTo>
                  <a:lnTo>
                    <a:pt x="169" y="2764"/>
                  </a:lnTo>
                  <a:lnTo>
                    <a:pt x="152" y="2767"/>
                  </a:lnTo>
                  <a:lnTo>
                    <a:pt x="140" y="2767"/>
                  </a:lnTo>
                  <a:lnTo>
                    <a:pt x="135" y="2766"/>
                  </a:lnTo>
                  <a:lnTo>
                    <a:pt x="134" y="2763"/>
                  </a:lnTo>
                  <a:lnTo>
                    <a:pt x="134" y="2763"/>
                  </a:lnTo>
                  <a:lnTo>
                    <a:pt x="130" y="2756"/>
                  </a:lnTo>
                  <a:lnTo>
                    <a:pt x="129" y="2743"/>
                  </a:lnTo>
                  <a:lnTo>
                    <a:pt x="127" y="2723"/>
                  </a:lnTo>
                  <a:lnTo>
                    <a:pt x="127" y="2700"/>
                  </a:lnTo>
                  <a:lnTo>
                    <a:pt x="125" y="2643"/>
                  </a:lnTo>
                  <a:lnTo>
                    <a:pt x="127" y="2581"/>
                  </a:lnTo>
                  <a:lnTo>
                    <a:pt x="129" y="2518"/>
                  </a:lnTo>
                  <a:lnTo>
                    <a:pt x="133" y="2462"/>
                  </a:lnTo>
                  <a:lnTo>
                    <a:pt x="135" y="2440"/>
                  </a:lnTo>
                  <a:lnTo>
                    <a:pt x="137" y="2423"/>
                  </a:lnTo>
                  <a:lnTo>
                    <a:pt x="140" y="2411"/>
                  </a:lnTo>
                  <a:lnTo>
                    <a:pt x="141" y="2407"/>
                  </a:lnTo>
                  <a:lnTo>
                    <a:pt x="142" y="2406"/>
                  </a:lnTo>
                  <a:lnTo>
                    <a:pt x="142" y="2406"/>
                  </a:lnTo>
                  <a:lnTo>
                    <a:pt x="151" y="2404"/>
                  </a:lnTo>
                  <a:lnTo>
                    <a:pt x="159" y="2403"/>
                  </a:lnTo>
                  <a:lnTo>
                    <a:pt x="170" y="2403"/>
                  </a:lnTo>
                  <a:lnTo>
                    <a:pt x="181" y="2404"/>
                  </a:lnTo>
                  <a:lnTo>
                    <a:pt x="193" y="2406"/>
                  </a:lnTo>
                  <a:lnTo>
                    <a:pt x="206" y="2409"/>
                  </a:lnTo>
                  <a:lnTo>
                    <a:pt x="234" y="2418"/>
                  </a:lnTo>
                  <a:lnTo>
                    <a:pt x="263" y="2432"/>
                  </a:lnTo>
                  <a:lnTo>
                    <a:pt x="295" y="2447"/>
                  </a:lnTo>
                  <a:lnTo>
                    <a:pt x="325" y="2466"/>
                  </a:lnTo>
                  <a:lnTo>
                    <a:pt x="355" y="2486"/>
                  </a:lnTo>
                  <a:lnTo>
                    <a:pt x="384" y="2508"/>
                  </a:lnTo>
                  <a:lnTo>
                    <a:pt x="411" y="2531"/>
                  </a:lnTo>
                  <a:lnTo>
                    <a:pt x="435" y="2554"/>
                  </a:lnTo>
                  <a:lnTo>
                    <a:pt x="445" y="2565"/>
                  </a:lnTo>
                  <a:lnTo>
                    <a:pt x="454" y="2577"/>
                  </a:lnTo>
                  <a:lnTo>
                    <a:pt x="462" y="2588"/>
                  </a:lnTo>
                  <a:lnTo>
                    <a:pt x="469" y="2599"/>
                  </a:lnTo>
                  <a:lnTo>
                    <a:pt x="474" y="2610"/>
                  </a:lnTo>
                  <a:lnTo>
                    <a:pt x="477" y="2620"/>
                  </a:lnTo>
                  <a:lnTo>
                    <a:pt x="480" y="2630"/>
                  </a:lnTo>
                  <a:lnTo>
                    <a:pt x="480" y="2640"/>
                  </a:lnTo>
                  <a:lnTo>
                    <a:pt x="479" y="2649"/>
                  </a:lnTo>
                  <a:lnTo>
                    <a:pt x="475" y="2657"/>
                  </a:lnTo>
                  <a:lnTo>
                    <a:pt x="475" y="2657"/>
                  </a:lnTo>
                  <a:close/>
                  <a:moveTo>
                    <a:pt x="490" y="2117"/>
                  </a:moveTo>
                  <a:lnTo>
                    <a:pt x="1692" y="455"/>
                  </a:lnTo>
                  <a:lnTo>
                    <a:pt x="1692" y="455"/>
                  </a:lnTo>
                  <a:lnTo>
                    <a:pt x="1694" y="453"/>
                  </a:lnTo>
                  <a:lnTo>
                    <a:pt x="1699" y="450"/>
                  </a:lnTo>
                  <a:lnTo>
                    <a:pt x="1708" y="446"/>
                  </a:lnTo>
                  <a:lnTo>
                    <a:pt x="1713" y="444"/>
                  </a:lnTo>
                  <a:lnTo>
                    <a:pt x="1720" y="443"/>
                  </a:lnTo>
                  <a:lnTo>
                    <a:pt x="1728" y="443"/>
                  </a:lnTo>
                  <a:lnTo>
                    <a:pt x="1737" y="444"/>
                  </a:lnTo>
                  <a:lnTo>
                    <a:pt x="1748" y="445"/>
                  </a:lnTo>
                  <a:lnTo>
                    <a:pt x="1760" y="449"/>
                  </a:lnTo>
                  <a:lnTo>
                    <a:pt x="1773" y="452"/>
                  </a:lnTo>
                  <a:lnTo>
                    <a:pt x="1788" y="460"/>
                  </a:lnTo>
                  <a:lnTo>
                    <a:pt x="1803" y="468"/>
                  </a:lnTo>
                  <a:lnTo>
                    <a:pt x="1821" y="478"/>
                  </a:lnTo>
                  <a:lnTo>
                    <a:pt x="1821" y="478"/>
                  </a:lnTo>
                  <a:lnTo>
                    <a:pt x="1836" y="489"/>
                  </a:lnTo>
                  <a:lnTo>
                    <a:pt x="1849" y="499"/>
                  </a:lnTo>
                  <a:lnTo>
                    <a:pt x="1859" y="509"/>
                  </a:lnTo>
                  <a:lnTo>
                    <a:pt x="1867" y="520"/>
                  </a:lnTo>
                  <a:lnTo>
                    <a:pt x="1875" y="530"/>
                  </a:lnTo>
                  <a:lnTo>
                    <a:pt x="1880" y="539"/>
                  </a:lnTo>
                  <a:lnTo>
                    <a:pt x="1883" y="549"/>
                  </a:lnTo>
                  <a:lnTo>
                    <a:pt x="1887" y="558"/>
                  </a:lnTo>
                  <a:lnTo>
                    <a:pt x="1888" y="565"/>
                  </a:lnTo>
                  <a:lnTo>
                    <a:pt x="1888" y="572"/>
                  </a:lnTo>
                  <a:lnTo>
                    <a:pt x="1888" y="584"/>
                  </a:lnTo>
                  <a:lnTo>
                    <a:pt x="1887" y="591"/>
                  </a:lnTo>
                  <a:lnTo>
                    <a:pt x="1886" y="594"/>
                  </a:lnTo>
                  <a:lnTo>
                    <a:pt x="624" y="2291"/>
                  </a:lnTo>
                  <a:lnTo>
                    <a:pt x="624" y="2094"/>
                  </a:lnTo>
                  <a:lnTo>
                    <a:pt x="490" y="2117"/>
                  </a:lnTo>
                  <a:close/>
                  <a:moveTo>
                    <a:pt x="2117" y="835"/>
                  </a:moveTo>
                  <a:lnTo>
                    <a:pt x="937" y="2462"/>
                  </a:lnTo>
                  <a:lnTo>
                    <a:pt x="902" y="2386"/>
                  </a:lnTo>
                  <a:lnTo>
                    <a:pt x="750" y="2359"/>
                  </a:lnTo>
                  <a:lnTo>
                    <a:pt x="1973" y="677"/>
                  </a:lnTo>
                  <a:lnTo>
                    <a:pt x="1973" y="677"/>
                  </a:lnTo>
                  <a:lnTo>
                    <a:pt x="1975" y="676"/>
                  </a:lnTo>
                  <a:lnTo>
                    <a:pt x="1979" y="672"/>
                  </a:lnTo>
                  <a:lnTo>
                    <a:pt x="1987" y="669"/>
                  </a:lnTo>
                  <a:lnTo>
                    <a:pt x="1992" y="669"/>
                  </a:lnTo>
                  <a:lnTo>
                    <a:pt x="1998" y="668"/>
                  </a:lnTo>
                  <a:lnTo>
                    <a:pt x="2005" y="669"/>
                  </a:lnTo>
                  <a:lnTo>
                    <a:pt x="2014" y="670"/>
                  </a:lnTo>
                  <a:lnTo>
                    <a:pt x="2022" y="674"/>
                  </a:lnTo>
                  <a:lnTo>
                    <a:pt x="2032" y="679"/>
                  </a:lnTo>
                  <a:lnTo>
                    <a:pt x="2043" y="685"/>
                  </a:lnTo>
                  <a:lnTo>
                    <a:pt x="2055" y="693"/>
                  </a:lnTo>
                  <a:lnTo>
                    <a:pt x="2067" y="704"/>
                  </a:lnTo>
                  <a:lnTo>
                    <a:pt x="2080" y="718"/>
                  </a:lnTo>
                  <a:lnTo>
                    <a:pt x="2080" y="718"/>
                  </a:lnTo>
                  <a:lnTo>
                    <a:pt x="2091" y="731"/>
                  </a:lnTo>
                  <a:lnTo>
                    <a:pt x="2101" y="741"/>
                  </a:lnTo>
                  <a:lnTo>
                    <a:pt x="2108" y="754"/>
                  </a:lnTo>
                  <a:lnTo>
                    <a:pt x="2113" y="764"/>
                  </a:lnTo>
                  <a:lnTo>
                    <a:pt x="2118" y="774"/>
                  </a:lnTo>
                  <a:lnTo>
                    <a:pt x="2120" y="784"/>
                  </a:lnTo>
                  <a:lnTo>
                    <a:pt x="2121" y="793"/>
                  </a:lnTo>
                  <a:lnTo>
                    <a:pt x="2123" y="801"/>
                  </a:lnTo>
                  <a:lnTo>
                    <a:pt x="2121" y="815"/>
                  </a:lnTo>
                  <a:lnTo>
                    <a:pt x="2120" y="826"/>
                  </a:lnTo>
                  <a:lnTo>
                    <a:pt x="2118" y="832"/>
                  </a:lnTo>
                  <a:lnTo>
                    <a:pt x="2117" y="835"/>
                  </a:lnTo>
                  <a:lnTo>
                    <a:pt x="2117" y="83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28458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1216804" y="450131"/>
            <a:ext cx="758541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 latinLnBrk="0"/>
            <a:r>
              <a:rPr lang="ko-KR" altLang="en-US" sz="2200" dirty="0" smtClean="0">
                <a:solidFill>
                  <a:schemeClr val="accent1">
                    <a:lumMod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쇄신과제 ④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분산된 </a:t>
            </a:r>
            <a:r>
              <a:rPr lang="ko-KR" altLang="en-US" sz="22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농어촌 보건복지</a:t>
            </a:r>
            <a:r>
              <a:rPr lang="ko-KR" altLang="en-US" sz="2200" dirty="0">
                <a:latin typeface="HY견고딕" panose="02030600000101010101" pitchFamily="18" charset="-127"/>
                <a:ea typeface="HY견고딕" panose="02030600000101010101" pitchFamily="18" charset="-127"/>
              </a:rPr>
              <a:t> 기능 실태와 개선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710499" y="5446757"/>
            <a:ext cx="8118353" cy="1029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22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지역통합 복지센터</a:t>
            </a:r>
            <a:r>
              <a:rPr lang="en-US" altLang="ko-KR" sz="22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22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가칭</a:t>
            </a:r>
            <a:r>
              <a:rPr lang="en-US" altLang="ko-KR" sz="22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r>
              <a:rPr lang="ko-KR" altLang="en-US" sz="22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설치</a:t>
            </a:r>
            <a:r>
              <a:rPr lang="ko-KR" altLang="en-US" sz="2200" dirty="0">
                <a:latin typeface="HY견고딕" panose="02030600000101010101" pitchFamily="18" charset="-127"/>
                <a:ea typeface="HY견고딕" panose="02030600000101010101" pitchFamily="18" charset="-127"/>
              </a:rPr>
              <a:t>를 통한 통합적 업무추진과 </a:t>
            </a:r>
            <a:endParaRPr lang="en-US" altLang="ko-KR" sz="22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2200" dirty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 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효율화</a:t>
            </a:r>
            <a:r>
              <a:rPr lang="en-US" altLang="ko-KR" sz="2200" dirty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200" dirty="0">
                <a:latin typeface="HY견고딕" panose="02030600000101010101" pitchFamily="18" charset="-127"/>
                <a:ea typeface="HY견고딕" panose="02030600000101010101" pitchFamily="18" charset="-127"/>
              </a:rPr>
              <a:t>체계화 도모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76230" y="1027156"/>
            <a:ext cx="8344242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 latinLnBrk="0">
              <a:lnSpc>
                <a:spcPct val="150000"/>
              </a:lnSpc>
            </a:pPr>
            <a:endParaRPr lang="ko-KR" altLang="en-US" sz="16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제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차 농어촌 보건복지 기본계획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‘04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∼‘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09)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복지수요 증대 따른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저소득층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생활안정 기여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농어촌 지역에 대한 지속적 조사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연구 미흡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현실에 적합한 정책 발굴 부진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2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제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2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차 농어촌 보건복지 기본계획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‘10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∼‘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14),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보건의료 기반 개선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사회통합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강화 추진 </a:t>
            </a:r>
            <a:endParaRPr lang="en-US" altLang="ko-KR" sz="16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예방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맞춤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보편 서비스 추진에도 불구하고 부처별 개별 지원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운영 시스템 분산 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※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지역아동보호전문기관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장애인성폭력상담센터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노인확대예방센터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→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보건복지부 소관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※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가정폭력상담센터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청소년상담센터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육아나눔터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→ 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여성가족부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소관</a:t>
            </a:r>
          </a:p>
          <a:p>
            <a:pPr fontAlgn="base">
              <a:lnSpc>
                <a:spcPct val="2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1, 2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차 농어촌 보건복지 기본계획 기간 경과 후에도 농어촌보건복지는 여전히 제자리 수준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농어촌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주민들이 공감하고 만족하지 못하는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시책 입증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새로운 시책 강구 필요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31" name="오른쪽 화살표 30"/>
          <p:cNvSpPr/>
          <p:nvPr/>
        </p:nvSpPr>
        <p:spPr>
          <a:xfrm>
            <a:off x="602487" y="194747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3" name="오른쪽 화살표 32"/>
          <p:cNvSpPr/>
          <p:nvPr/>
        </p:nvSpPr>
        <p:spPr>
          <a:xfrm>
            <a:off x="602487" y="291346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4" name="오른쪽 화살표 33"/>
          <p:cNvSpPr/>
          <p:nvPr/>
        </p:nvSpPr>
        <p:spPr>
          <a:xfrm>
            <a:off x="371366" y="5613116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35" name="그룹 34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36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39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40" name="TextBox 39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41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7" name="그림 3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  <p:sp>
        <p:nvSpPr>
          <p:cNvPr id="18" name="오른쪽 화살표 17"/>
          <p:cNvSpPr/>
          <p:nvPr/>
        </p:nvSpPr>
        <p:spPr>
          <a:xfrm>
            <a:off x="589086" y="450912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19" name="그룹 18"/>
          <p:cNvGrpSpPr/>
          <p:nvPr/>
        </p:nvGrpSpPr>
        <p:grpSpPr>
          <a:xfrm>
            <a:off x="953793" y="436953"/>
            <a:ext cx="433997" cy="433997"/>
            <a:chOff x="1053286" y="515021"/>
            <a:chExt cx="433997" cy="433997"/>
          </a:xfrm>
        </p:grpSpPr>
        <p:sp>
          <p:nvSpPr>
            <p:cNvPr id="20" name="Oval 45"/>
            <p:cNvSpPr/>
            <p:nvPr/>
          </p:nvSpPr>
          <p:spPr>
            <a:xfrm>
              <a:off x="1053286" y="515021"/>
              <a:ext cx="433997" cy="433997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Freeform 13"/>
            <p:cNvSpPr>
              <a:spLocks noEditPoints="1"/>
            </p:cNvSpPr>
            <p:nvPr/>
          </p:nvSpPr>
          <p:spPr bwMode="auto">
            <a:xfrm rot="10585247" flipV="1">
              <a:off x="1160800" y="600128"/>
              <a:ext cx="218969" cy="263783"/>
            </a:xfrm>
            <a:custGeom>
              <a:avLst/>
              <a:gdLst>
                <a:gd name="T0" fmla="*/ 2022 w 2403"/>
                <a:gd name="T1" fmla="*/ 144 h 2897"/>
                <a:gd name="T2" fmla="*/ 1852 w 2403"/>
                <a:gd name="T3" fmla="*/ 57 h 2897"/>
                <a:gd name="T4" fmla="*/ 1632 w 2403"/>
                <a:gd name="T5" fmla="*/ 1 h 2897"/>
                <a:gd name="T6" fmla="*/ 1548 w 2403"/>
                <a:gd name="T7" fmla="*/ 2 h 2897"/>
                <a:gd name="T8" fmla="*/ 1491 w 2403"/>
                <a:gd name="T9" fmla="*/ 23 h 2897"/>
                <a:gd name="T10" fmla="*/ 785 w 2403"/>
                <a:gd name="T11" fmla="*/ 948 h 2897"/>
                <a:gd name="T12" fmla="*/ 48 w 2403"/>
                <a:gd name="T13" fmla="*/ 1933 h 2897"/>
                <a:gd name="T14" fmla="*/ 30 w 2403"/>
                <a:gd name="T15" fmla="*/ 1995 h 2897"/>
                <a:gd name="T16" fmla="*/ 3 w 2403"/>
                <a:gd name="T17" fmla="*/ 2340 h 2897"/>
                <a:gd name="T18" fmla="*/ 7 w 2403"/>
                <a:gd name="T19" fmla="*/ 2732 h 2897"/>
                <a:gd name="T20" fmla="*/ 27 w 2403"/>
                <a:gd name="T21" fmla="*/ 2871 h 2897"/>
                <a:gd name="T22" fmla="*/ 42 w 2403"/>
                <a:gd name="T23" fmla="*/ 2891 h 2897"/>
                <a:gd name="T24" fmla="*/ 118 w 2403"/>
                <a:gd name="T25" fmla="*/ 2896 h 2897"/>
                <a:gd name="T26" fmla="*/ 340 w 2403"/>
                <a:gd name="T27" fmla="*/ 2850 h 2897"/>
                <a:gd name="T28" fmla="*/ 724 w 2403"/>
                <a:gd name="T29" fmla="*/ 2722 h 2897"/>
                <a:gd name="T30" fmla="*/ 926 w 2403"/>
                <a:gd name="T31" fmla="*/ 2628 h 2897"/>
                <a:gd name="T32" fmla="*/ 987 w 2403"/>
                <a:gd name="T33" fmla="*/ 2578 h 2897"/>
                <a:gd name="T34" fmla="*/ 1454 w 2403"/>
                <a:gd name="T35" fmla="*/ 1961 h 2897"/>
                <a:gd name="T36" fmla="*/ 2390 w 2403"/>
                <a:gd name="T37" fmla="*/ 675 h 2897"/>
                <a:gd name="T38" fmla="*/ 2403 w 2403"/>
                <a:gd name="T39" fmla="*/ 631 h 2897"/>
                <a:gd name="T40" fmla="*/ 2392 w 2403"/>
                <a:gd name="T41" fmla="*/ 562 h 2897"/>
                <a:gd name="T42" fmla="*/ 2334 w 2403"/>
                <a:gd name="T43" fmla="*/ 447 h 2897"/>
                <a:gd name="T44" fmla="*/ 2193 w 2403"/>
                <a:gd name="T45" fmla="*/ 279 h 2897"/>
                <a:gd name="T46" fmla="*/ 1398 w 2403"/>
                <a:gd name="T47" fmla="*/ 308 h 2897"/>
                <a:gd name="T48" fmla="*/ 1421 w 2403"/>
                <a:gd name="T49" fmla="*/ 290 h 2897"/>
                <a:gd name="T50" fmla="*/ 1468 w 2403"/>
                <a:gd name="T51" fmla="*/ 287 h 2897"/>
                <a:gd name="T52" fmla="*/ 1528 w 2403"/>
                <a:gd name="T53" fmla="*/ 313 h 2897"/>
                <a:gd name="T54" fmla="*/ 1580 w 2403"/>
                <a:gd name="T55" fmla="*/ 368 h 2897"/>
                <a:gd name="T56" fmla="*/ 1587 w 2403"/>
                <a:gd name="T57" fmla="*/ 409 h 2897"/>
                <a:gd name="T58" fmla="*/ 337 w 2403"/>
                <a:gd name="T59" fmla="*/ 1902 h 2897"/>
                <a:gd name="T60" fmla="*/ 473 w 2403"/>
                <a:gd name="T61" fmla="*/ 2660 h 2897"/>
                <a:gd name="T62" fmla="*/ 364 w 2403"/>
                <a:gd name="T63" fmla="*/ 2709 h 2897"/>
                <a:gd name="T64" fmla="*/ 169 w 2403"/>
                <a:gd name="T65" fmla="*/ 2764 h 2897"/>
                <a:gd name="T66" fmla="*/ 134 w 2403"/>
                <a:gd name="T67" fmla="*/ 2763 h 2897"/>
                <a:gd name="T68" fmla="*/ 125 w 2403"/>
                <a:gd name="T69" fmla="*/ 2643 h 2897"/>
                <a:gd name="T70" fmla="*/ 137 w 2403"/>
                <a:gd name="T71" fmla="*/ 2423 h 2897"/>
                <a:gd name="T72" fmla="*/ 151 w 2403"/>
                <a:gd name="T73" fmla="*/ 2404 h 2897"/>
                <a:gd name="T74" fmla="*/ 206 w 2403"/>
                <a:gd name="T75" fmla="*/ 2409 h 2897"/>
                <a:gd name="T76" fmla="*/ 355 w 2403"/>
                <a:gd name="T77" fmla="*/ 2486 h 2897"/>
                <a:gd name="T78" fmla="*/ 454 w 2403"/>
                <a:gd name="T79" fmla="*/ 2577 h 2897"/>
                <a:gd name="T80" fmla="*/ 480 w 2403"/>
                <a:gd name="T81" fmla="*/ 2630 h 2897"/>
                <a:gd name="T82" fmla="*/ 490 w 2403"/>
                <a:gd name="T83" fmla="*/ 2117 h 2897"/>
                <a:gd name="T84" fmla="*/ 1708 w 2403"/>
                <a:gd name="T85" fmla="*/ 446 h 2897"/>
                <a:gd name="T86" fmla="*/ 1748 w 2403"/>
                <a:gd name="T87" fmla="*/ 445 h 2897"/>
                <a:gd name="T88" fmla="*/ 1821 w 2403"/>
                <a:gd name="T89" fmla="*/ 478 h 2897"/>
                <a:gd name="T90" fmla="*/ 1867 w 2403"/>
                <a:gd name="T91" fmla="*/ 520 h 2897"/>
                <a:gd name="T92" fmla="*/ 1888 w 2403"/>
                <a:gd name="T93" fmla="*/ 565 h 2897"/>
                <a:gd name="T94" fmla="*/ 624 w 2403"/>
                <a:gd name="T95" fmla="*/ 2291 h 2897"/>
                <a:gd name="T96" fmla="*/ 902 w 2403"/>
                <a:gd name="T97" fmla="*/ 2386 h 2897"/>
                <a:gd name="T98" fmla="*/ 1979 w 2403"/>
                <a:gd name="T99" fmla="*/ 672 h 2897"/>
                <a:gd name="T100" fmla="*/ 2014 w 2403"/>
                <a:gd name="T101" fmla="*/ 670 h 2897"/>
                <a:gd name="T102" fmla="*/ 2067 w 2403"/>
                <a:gd name="T103" fmla="*/ 704 h 2897"/>
                <a:gd name="T104" fmla="*/ 2108 w 2403"/>
                <a:gd name="T105" fmla="*/ 754 h 2897"/>
                <a:gd name="T106" fmla="*/ 2123 w 2403"/>
                <a:gd name="T107" fmla="*/ 801 h 2897"/>
                <a:gd name="T108" fmla="*/ 2117 w 2403"/>
                <a:gd name="T109" fmla="*/ 835 h 2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403" h="2897">
                  <a:moveTo>
                    <a:pt x="2095" y="193"/>
                  </a:moveTo>
                  <a:lnTo>
                    <a:pt x="2095" y="193"/>
                  </a:lnTo>
                  <a:lnTo>
                    <a:pt x="2071" y="176"/>
                  </a:lnTo>
                  <a:lnTo>
                    <a:pt x="2046" y="159"/>
                  </a:lnTo>
                  <a:lnTo>
                    <a:pt x="2022" y="144"/>
                  </a:lnTo>
                  <a:lnTo>
                    <a:pt x="1998" y="129"/>
                  </a:lnTo>
                  <a:lnTo>
                    <a:pt x="1974" y="115"/>
                  </a:lnTo>
                  <a:lnTo>
                    <a:pt x="1948" y="101"/>
                  </a:lnTo>
                  <a:lnTo>
                    <a:pt x="1900" y="78"/>
                  </a:lnTo>
                  <a:lnTo>
                    <a:pt x="1852" y="57"/>
                  </a:lnTo>
                  <a:lnTo>
                    <a:pt x="1803" y="40"/>
                  </a:lnTo>
                  <a:lnTo>
                    <a:pt x="1757" y="25"/>
                  </a:lnTo>
                  <a:lnTo>
                    <a:pt x="1714" y="14"/>
                  </a:lnTo>
                  <a:lnTo>
                    <a:pt x="1671" y="6"/>
                  </a:lnTo>
                  <a:lnTo>
                    <a:pt x="1632" y="1"/>
                  </a:lnTo>
                  <a:lnTo>
                    <a:pt x="1613" y="0"/>
                  </a:lnTo>
                  <a:lnTo>
                    <a:pt x="1595" y="0"/>
                  </a:lnTo>
                  <a:lnTo>
                    <a:pt x="1580" y="0"/>
                  </a:lnTo>
                  <a:lnTo>
                    <a:pt x="1564" y="1"/>
                  </a:lnTo>
                  <a:lnTo>
                    <a:pt x="1548" y="2"/>
                  </a:lnTo>
                  <a:lnTo>
                    <a:pt x="1535" y="5"/>
                  </a:lnTo>
                  <a:lnTo>
                    <a:pt x="1521" y="8"/>
                  </a:lnTo>
                  <a:lnTo>
                    <a:pt x="1511" y="12"/>
                  </a:lnTo>
                  <a:lnTo>
                    <a:pt x="1500" y="17"/>
                  </a:lnTo>
                  <a:lnTo>
                    <a:pt x="1491" y="23"/>
                  </a:lnTo>
                  <a:lnTo>
                    <a:pt x="1484" y="29"/>
                  </a:lnTo>
                  <a:lnTo>
                    <a:pt x="1477" y="36"/>
                  </a:lnTo>
                  <a:lnTo>
                    <a:pt x="1477" y="36"/>
                  </a:lnTo>
                  <a:lnTo>
                    <a:pt x="1253" y="331"/>
                  </a:lnTo>
                  <a:lnTo>
                    <a:pt x="785" y="948"/>
                  </a:lnTo>
                  <a:lnTo>
                    <a:pt x="532" y="1283"/>
                  </a:lnTo>
                  <a:lnTo>
                    <a:pt x="304" y="1584"/>
                  </a:lnTo>
                  <a:lnTo>
                    <a:pt x="134" y="1813"/>
                  </a:lnTo>
                  <a:lnTo>
                    <a:pt x="78" y="1890"/>
                  </a:lnTo>
                  <a:lnTo>
                    <a:pt x="48" y="1933"/>
                  </a:lnTo>
                  <a:lnTo>
                    <a:pt x="48" y="1933"/>
                  </a:lnTo>
                  <a:lnTo>
                    <a:pt x="43" y="1943"/>
                  </a:lnTo>
                  <a:lnTo>
                    <a:pt x="38" y="1956"/>
                  </a:lnTo>
                  <a:lnTo>
                    <a:pt x="33" y="1974"/>
                  </a:lnTo>
                  <a:lnTo>
                    <a:pt x="30" y="1995"/>
                  </a:lnTo>
                  <a:lnTo>
                    <a:pt x="23" y="2047"/>
                  </a:lnTo>
                  <a:lnTo>
                    <a:pt x="15" y="2110"/>
                  </a:lnTo>
                  <a:lnTo>
                    <a:pt x="10" y="2181"/>
                  </a:lnTo>
                  <a:lnTo>
                    <a:pt x="6" y="2259"/>
                  </a:lnTo>
                  <a:lnTo>
                    <a:pt x="3" y="2340"/>
                  </a:lnTo>
                  <a:lnTo>
                    <a:pt x="1" y="2423"/>
                  </a:lnTo>
                  <a:lnTo>
                    <a:pt x="0" y="2507"/>
                  </a:lnTo>
                  <a:lnTo>
                    <a:pt x="1" y="2588"/>
                  </a:lnTo>
                  <a:lnTo>
                    <a:pt x="3" y="2663"/>
                  </a:lnTo>
                  <a:lnTo>
                    <a:pt x="7" y="2732"/>
                  </a:lnTo>
                  <a:lnTo>
                    <a:pt x="12" y="2790"/>
                  </a:lnTo>
                  <a:lnTo>
                    <a:pt x="15" y="2815"/>
                  </a:lnTo>
                  <a:lnTo>
                    <a:pt x="19" y="2837"/>
                  </a:lnTo>
                  <a:lnTo>
                    <a:pt x="23" y="2856"/>
                  </a:lnTo>
                  <a:lnTo>
                    <a:pt x="27" y="2871"/>
                  </a:lnTo>
                  <a:lnTo>
                    <a:pt x="32" y="2882"/>
                  </a:lnTo>
                  <a:lnTo>
                    <a:pt x="35" y="2885"/>
                  </a:lnTo>
                  <a:lnTo>
                    <a:pt x="37" y="2888"/>
                  </a:lnTo>
                  <a:lnTo>
                    <a:pt x="37" y="2888"/>
                  </a:lnTo>
                  <a:lnTo>
                    <a:pt x="42" y="2891"/>
                  </a:lnTo>
                  <a:lnTo>
                    <a:pt x="47" y="2893"/>
                  </a:lnTo>
                  <a:lnTo>
                    <a:pt x="60" y="2896"/>
                  </a:lnTo>
                  <a:lnTo>
                    <a:pt x="76" y="2897"/>
                  </a:lnTo>
                  <a:lnTo>
                    <a:pt x="95" y="2897"/>
                  </a:lnTo>
                  <a:lnTo>
                    <a:pt x="118" y="2896"/>
                  </a:lnTo>
                  <a:lnTo>
                    <a:pt x="144" y="2893"/>
                  </a:lnTo>
                  <a:lnTo>
                    <a:pt x="171" y="2888"/>
                  </a:lnTo>
                  <a:lnTo>
                    <a:pt x="202" y="2883"/>
                  </a:lnTo>
                  <a:lnTo>
                    <a:pt x="267" y="2868"/>
                  </a:lnTo>
                  <a:lnTo>
                    <a:pt x="340" y="2850"/>
                  </a:lnTo>
                  <a:lnTo>
                    <a:pt x="416" y="2829"/>
                  </a:lnTo>
                  <a:lnTo>
                    <a:pt x="494" y="2804"/>
                  </a:lnTo>
                  <a:lnTo>
                    <a:pt x="573" y="2778"/>
                  </a:lnTo>
                  <a:lnTo>
                    <a:pt x="650" y="2751"/>
                  </a:lnTo>
                  <a:lnTo>
                    <a:pt x="724" y="2722"/>
                  </a:lnTo>
                  <a:lnTo>
                    <a:pt x="793" y="2694"/>
                  </a:lnTo>
                  <a:lnTo>
                    <a:pt x="854" y="2666"/>
                  </a:lnTo>
                  <a:lnTo>
                    <a:pt x="880" y="2653"/>
                  </a:lnTo>
                  <a:lnTo>
                    <a:pt x="904" y="2641"/>
                  </a:lnTo>
                  <a:lnTo>
                    <a:pt x="926" y="2628"/>
                  </a:lnTo>
                  <a:lnTo>
                    <a:pt x="946" y="2617"/>
                  </a:lnTo>
                  <a:lnTo>
                    <a:pt x="960" y="2605"/>
                  </a:lnTo>
                  <a:lnTo>
                    <a:pt x="972" y="2595"/>
                  </a:lnTo>
                  <a:lnTo>
                    <a:pt x="972" y="2595"/>
                  </a:lnTo>
                  <a:lnTo>
                    <a:pt x="987" y="2578"/>
                  </a:lnTo>
                  <a:lnTo>
                    <a:pt x="1007" y="2554"/>
                  </a:lnTo>
                  <a:lnTo>
                    <a:pt x="1064" y="2480"/>
                  </a:lnTo>
                  <a:lnTo>
                    <a:pt x="1142" y="2380"/>
                  </a:lnTo>
                  <a:lnTo>
                    <a:pt x="1234" y="2257"/>
                  </a:lnTo>
                  <a:lnTo>
                    <a:pt x="1454" y="1961"/>
                  </a:lnTo>
                  <a:lnTo>
                    <a:pt x="1697" y="1630"/>
                  </a:lnTo>
                  <a:lnTo>
                    <a:pt x="1939" y="1298"/>
                  </a:lnTo>
                  <a:lnTo>
                    <a:pt x="2153" y="1004"/>
                  </a:lnTo>
                  <a:lnTo>
                    <a:pt x="2311" y="784"/>
                  </a:lnTo>
                  <a:lnTo>
                    <a:pt x="2390" y="675"/>
                  </a:lnTo>
                  <a:lnTo>
                    <a:pt x="2390" y="675"/>
                  </a:lnTo>
                  <a:lnTo>
                    <a:pt x="2395" y="665"/>
                  </a:lnTo>
                  <a:lnTo>
                    <a:pt x="2400" y="654"/>
                  </a:lnTo>
                  <a:lnTo>
                    <a:pt x="2402" y="643"/>
                  </a:lnTo>
                  <a:lnTo>
                    <a:pt x="2403" y="631"/>
                  </a:lnTo>
                  <a:lnTo>
                    <a:pt x="2403" y="618"/>
                  </a:lnTo>
                  <a:lnTo>
                    <a:pt x="2403" y="605"/>
                  </a:lnTo>
                  <a:lnTo>
                    <a:pt x="2401" y="591"/>
                  </a:lnTo>
                  <a:lnTo>
                    <a:pt x="2397" y="577"/>
                  </a:lnTo>
                  <a:lnTo>
                    <a:pt x="2392" y="562"/>
                  </a:lnTo>
                  <a:lnTo>
                    <a:pt x="2386" y="547"/>
                  </a:lnTo>
                  <a:lnTo>
                    <a:pt x="2380" y="531"/>
                  </a:lnTo>
                  <a:lnTo>
                    <a:pt x="2373" y="514"/>
                  </a:lnTo>
                  <a:lnTo>
                    <a:pt x="2355" y="481"/>
                  </a:lnTo>
                  <a:lnTo>
                    <a:pt x="2334" y="447"/>
                  </a:lnTo>
                  <a:lnTo>
                    <a:pt x="2310" y="412"/>
                  </a:lnTo>
                  <a:lnTo>
                    <a:pt x="2284" y="378"/>
                  </a:lnTo>
                  <a:lnTo>
                    <a:pt x="2255" y="345"/>
                  </a:lnTo>
                  <a:lnTo>
                    <a:pt x="2226" y="311"/>
                  </a:lnTo>
                  <a:lnTo>
                    <a:pt x="2193" y="279"/>
                  </a:lnTo>
                  <a:lnTo>
                    <a:pt x="2161" y="248"/>
                  </a:lnTo>
                  <a:lnTo>
                    <a:pt x="2128" y="220"/>
                  </a:lnTo>
                  <a:lnTo>
                    <a:pt x="2095" y="193"/>
                  </a:lnTo>
                  <a:lnTo>
                    <a:pt x="2095" y="193"/>
                  </a:lnTo>
                  <a:close/>
                  <a:moveTo>
                    <a:pt x="1398" y="308"/>
                  </a:moveTo>
                  <a:lnTo>
                    <a:pt x="1398" y="308"/>
                  </a:lnTo>
                  <a:lnTo>
                    <a:pt x="1400" y="306"/>
                  </a:lnTo>
                  <a:lnTo>
                    <a:pt x="1405" y="300"/>
                  </a:lnTo>
                  <a:lnTo>
                    <a:pt x="1415" y="294"/>
                  </a:lnTo>
                  <a:lnTo>
                    <a:pt x="1421" y="290"/>
                  </a:lnTo>
                  <a:lnTo>
                    <a:pt x="1428" y="288"/>
                  </a:lnTo>
                  <a:lnTo>
                    <a:pt x="1437" y="285"/>
                  </a:lnTo>
                  <a:lnTo>
                    <a:pt x="1445" y="284"/>
                  </a:lnTo>
                  <a:lnTo>
                    <a:pt x="1456" y="284"/>
                  </a:lnTo>
                  <a:lnTo>
                    <a:pt x="1468" y="287"/>
                  </a:lnTo>
                  <a:lnTo>
                    <a:pt x="1482" y="290"/>
                  </a:lnTo>
                  <a:lnTo>
                    <a:pt x="1495" y="295"/>
                  </a:lnTo>
                  <a:lnTo>
                    <a:pt x="1511" y="303"/>
                  </a:lnTo>
                  <a:lnTo>
                    <a:pt x="1528" y="313"/>
                  </a:lnTo>
                  <a:lnTo>
                    <a:pt x="1528" y="313"/>
                  </a:lnTo>
                  <a:lnTo>
                    <a:pt x="1542" y="325"/>
                  </a:lnTo>
                  <a:lnTo>
                    <a:pt x="1555" y="336"/>
                  </a:lnTo>
                  <a:lnTo>
                    <a:pt x="1565" y="347"/>
                  </a:lnTo>
                  <a:lnTo>
                    <a:pt x="1573" y="357"/>
                  </a:lnTo>
                  <a:lnTo>
                    <a:pt x="1580" y="368"/>
                  </a:lnTo>
                  <a:lnTo>
                    <a:pt x="1583" y="376"/>
                  </a:lnTo>
                  <a:lnTo>
                    <a:pt x="1586" y="386"/>
                  </a:lnTo>
                  <a:lnTo>
                    <a:pt x="1587" y="394"/>
                  </a:lnTo>
                  <a:lnTo>
                    <a:pt x="1588" y="401"/>
                  </a:lnTo>
                  <a:lnTo>
                    <a:pt x="1587" y="409"/>
                  </a:lnTo>
                  <a:lnTo>
                    <a:pt x="1584" y="420"/>
                  </a:lnTo>
                  <a:lnTo>
                    <a:pt x="1582" y="427"/>
                  </a:lnTo>
                  <a:lnTo>
                    <a:pt x="1581" y="429"/>
                  </a:lnTo>
                  <a:lnTo>
                    <a:pt x="337" y="2076"/>
                  </a:lnTo>
                  <a:lnTo>
                    <a:pt x="337" y="1902"/>
                  </a:lnTo>
                  <a:lnTo>
                    <a:pt x="239" y="1865"/>
                  </a:lnTo>
                  <a:lnTo>
                    <a:pt x="1398" y="308"/>
                  </a:lnTo>
                  <a:close/>
                  <a:moveTo>
                    <a:pt x="475" y="2657"/>
                  </a:moveTo>
                  <a:lnTo>
                    <a:pt x="475" y="2657"/>
                  </a:lnTo>
                  <a:lnTo>
                    <a:pt x="473" y="2660"/>
                  </a:lnTo>
                  <a:lnTo>
                    <a:pt x="469" y="2664"/>
                  </a:lnTo>
                  <a:lnTo>
                    <a:pt x="456" y="2671"/>
                  </a:lnTo>
                  <a:lnTo>
                    <a:pt x="439" y="2680"/>
                  </a:lnTo>
                  <a:lnTo>
                    <a:pt x="417" y="2689"/>
                  </a:lnTo>
                  <a:lnTo>
                    <a:pt x="364" y="2709"/>
                  </a:lnTo>
                  <a:lnTo>
                    <a:pt x="304" y="2729"/>
                  </a:lnTo>
                  <a:lnTo>
                    <a:pt x="244" y="2746"/>
                  </a:lnTo>
                  <a:lnTo>
                    <a:pt x="216" y="2754"/>
                  </a:lnTo>
                  <a:lnTo>
                    <a:pt x="191" y="2760"/>
                  </a:lnTo>
                  <a:lnTo>
                    <a:pt x="169" y="2764"/>
                  </a:lnTo>
                  <a:lnTo>
                    <a:pt x="152" y="2767"/>
                  </a:lnTo>
                  <a:lnTo>
                    <a:pt x="140" y="2767"/>
                  </a:lnTo>
                  <a:lnTo>
                    <a:pt x="135" y="2766"/>
                  </a:lnTo>
                  <a:lnTo>
                    <a:pt x="134" y="2763"/>
                  </a:lnTo>
                  <a:lnTo>
                    <a:pt x="134" y="2763"/>
                  </a:lnTo>
                  <a:lnTo>
                    <a:pt x="130" y="2756"/>
                  </a:lnTo>
                  <a:lnTo>
                    <a:pt x="129" y="2743"/>
                  </a:lnTo>
                  <a:lnTo>
                    <a:pt x="127" y="2723"/>
                  </a:lnTo>
                  <a:lnTo>
                    <a:pt x="127" y="2700"/>
                  </a:lnTo>
                  <a:lnTo>
                    <a:pt x="125" y="2643"/>
                  </a:lnTo>
                  <a:lnTo>
                    <a:pt x="127" y="2581"/>
                  </a:lnTo>
                  <a:lnTo>
                    <a:pt x="129" y="2518"/>
                  </a:lnTo>
                  <a:lnTo>
                    <a:pt x="133" y="2462"/>
                  </a:lnTo>
                  <a:lnTo>
                    <a:pt x="135" y="2440"/>
                  </a:lnTo>
                  <a:lnTo>
                    <a:pt x="137" y="2423"/>
                  </a:lnTo>
                  <a:lnTo>
                    <a:pt x="140" y="2411"/>
                  </a:lnTo>
                  <a:lnTo>
                    <a:pt x="141" y="2407"/>
                  </a:lnTo>
                  <a:lnTo>
                    <a:pt x="142" y="2406"/>
                  </a:lnTo>
                  <a:lnTo>
                    <a:pt x="142" y="2406"/>
                  </a:lnTo>
                  <a:lnTo>
                    <a:pt x="151" y="2404"/>
                  </a:lnTo>
                  <a:lnTo>
                    <a:pt x="159" y="2403"/>
                  </a:lnTo>
                  <a:lnTo>
                    <a:pt x="170" y="2403"/>
                  </a:lnTo>
                  <a:lnTo>
                    <a:pt x="181" y="2404"/>
                  </a:lnTo>
                  <a:lnTo>
                    <a:pt x="193" y="2406"/>
                  </a:lnTo>
                  <a:lnTo>
                    <a:pt x="206" y="2409"/>
                  </a:lnTo>
                  <a:lnTo>
                    <a:pt x="234" y="2418"/>
                  </a:lnTo>
                  <a:lnTo>
                    <a:pt x="263" y="2432"/>
                  </a:lnTo>
                  <a:lnTo>
                    <a:pt x="295" y="2447"/>
                  </a:lnTo>
                  <a:lnTo>
                    <a:pt x="325" y="2466"/>
                  </a:lnTo>
                  <a:lnTo>
                    <a:pt x="355" y="2486"/>
                  </a:lnTo>
                  <a:lnTo>
                    <a:pt x="384" y="2508"/>
                  </a:lnTo>
                  <a:lnTo>
                    <a:pt x="411" y="2531"/>
                  </a:lnTo>
                  <a:lnTo>
                    <a:pt x="435" y="2554"/>
                  </a:lnTo>
                  <a:lnTo>
                    <a:pt x="445" y="2565"/>
                  </a:lnTo>
                  <a:lnTo>
                    <a:pt x="454" y="2577"/>
                  </a:lnTo>
                  <a:lnTo>
                    <a:pt x="462" y="2588"/>
                  </a:lnTo>
                  <a:lnTo>
                    <a:pt x="469" y="2599"/>
                  </a:lnTo>
                  <a:lnTo>
                    <a:pt x="474" y="2610"/>
                  </a:lnTo>
                  <a:lnTo>
                    <a:pt x="477" y="2620"/>
                  </a:lnTo>
                  <a:lnTo>
                    <a:pt x="480" y="2630"/>
                  </a:lnTo>
                  <a:lnTo>
                    <a:pt x="480" y="2640"/>
                  </a:lnTo>
                  <a:lnTo>
                    <a:pt x="479" y="2649"/>
                  </a:lnTo>
                  <a:lnTo>
                    <a:pt x="475" y="2657"/>
                  </a:lnTo>
                  <a:lnTo>
                    <a:pt x="475" y="2657"/>
                  </a:lnTo>
                  <a:close/>
                  <a:moveTo>
                    <a:pt x="490" y="2117"/>
                  </a:moveTo>
                  <a:lnTo>
                    <a:pt x="1692" y="455"/>
                  </a:lnTo>
                  <a:lnTo>
                    <a:pt x="1692" y="455"/>
                  </a:lnTo>
                  <a:lnTo>
                    <a:pt x="1694" y="453"/>
                  </a:lnTo>
                  <a:lnTo>
                    <a:pt x="1699" y="450"/>
                  </a:lnTo>
                  <a:lnTo>
                    <a:pt x="1708" y="446"/>
                  </a:lnTo>
                  <a:lnTo>
                    <a:pt x="1713" y="444"/>
                  </a:lnTo>
                  <a:lnTo>
                    <a:pt x="1720" y="443"/>
                  </a:lnTo>
                  <a:lnTo>
                    <a:pt x="1728" y="443"/>
                  </a:lnTo>
                  <a:lnTo>
                    <a:pt x="1737" y="444"/>
                  </a:lnTo>
                  <a:lnTo>
                    <a:pt x="1748" y="445"/>
                  </a:lnTo>
                  <a:lnTo>
                    <a:pt x="1760" y="449"/>
                  </a:lnTo>
                  <a:lnTo>
                    <a:pt x="1773" y="452"/>
                  </a:lnTo>
                  <a:lnTo>
                    <a:pt x="1788" y="460"/>
                  </a:lnTo>
                  <a:lnTo>
                    <a:pt x="1803" y="468"/>
                  </a:lnTo>
                  <a:lnTo>
                    <a:pt x="1821" y="478"/>
                  </a:lnTo>
                  <a:lnTo>
                    <a:pt x="1821" y="478"/>
                  </a:lnTo>
                  <a:lnTo>
                    <a:pt x="1836" y="489"/>
                  </a:lnTo>
                  <a:lnTo>
                    <a:pt x="1849" y="499"/>
                  </a:lnTo>
                  <a:lnTo>
                    <a:pt x="1859" y="509"/>
                  </a:lnTo>
                  <a:lnTo>
                    <a:pt x="1867" y="520"/>
                  </a:lnTo>
                  <a:lnTo>
                    <a:pt x="1875" y="530"/>
                  </a:lnTo>
                  <a:lnTo>
                    <a:pt x="1880" y="539"/>
                  </a:lnTo>
                  <a:lnTo>
                    <a:pt x="1883" y="549"/>
                  </a:lnTo>
                  <a:lnTo>
                    <a:pt x="1887" y="558"/>
                  </a:lnTo>
                  <a:lnTo>
                    <a:pt x="1888" y="565"/>
                  </a:lnTo>
                  <a:lnTo>
                    <a:pt x="1888" y="572"/>
                  </a:lnTo>
                  <a:lnTo>
                    <a:pt x="1888" y="584"/>
                  </a:lnTo>
                  <a:lnTo>
                    <a:pt x="1887" y="591"/>
                  </a:lnTo>
                  <a:lnTo>
                    <a:pt x="1886" y="594"/>
                  </a:lnTo>
                  <a:lnTo>
                    <a:pt x="624" y="2291"/>
                  </a:lnTo>
                  <a:lnTo>
                    <a:pt x="624" y="2094"/>
                  </a:lnTo>
                  <a:lnTo>
                    <a:pt x="490" y="2117"/>
                  </a:lnTo>
                  <a:close/>
                  <a:moveTo>
                    <a:pt x="2117" y="835"/>
                  </a:moveTo>
                  <a:lnTo>
                    <a:pt x="937" y="2462"/>
                  </a:lnTo>
                  <a:lnTo>
                    <a:pt x="902" y="2386"/>
                  </a:lnTo>
                  <a:lnTo>
                    <a:pt x="750" y="2359"/>
                  </a:lnTo>
                  <a:lnTo>
                    <a:pt x="1973" y="677"/>
                  </a:lnTo>
                  <a:lnTo>
                    <a:pt x="1973" y="677"/>
                  </a:lnTo>
                  <a:lnTo>
                    <a:pt x="1975" y="676"/>
                  </a:lnTo>
                  <a:lnTo>
                    <a:pt x="1979" y="672"/>
                  </a:lnTo>
                  <a:lnTo>
                    <a:pt x="1987" y="669"/>
                  </a:lnTo>
                  <a:lnTo>
                    <a:pt x="1992" y="669"/>
                  </a:lnTo>
                  <a:lnTo>
                    <a:pt x="1998" y="668"/>
                  </a:lnTo>
                  <a:lnTo>
                    <a:pt x="2005" y="669"/>
                  </a:lnTo>
                  <a:lnTo>
                    <a:pt x="2014" y="670"/>
                  </a:lnTo>
                  <a:lnTo>
                    <a:pt x="2022" y="674"/>
                  </a:lnTo>
                  <a:lnTo>
                    <a:pt x="2032" y="679"/>
                  </a:lnTo>
                  <a:lnTo>
                    <a:pt x="2043" y="685"/>
                  </a:lnTo>
                  <a:lnTo>
                    <a:pt x="2055" y="693"/>
                  </a:lnTo>
                  <a:lnTo>
                    <a:pt x="2067" y="704"/>
                  </a:lnTo>
                  <a:lnTo>
                    <a:pt x="2080" y="718"/>
                  </a:lnTo>
                  <a:lnTo>
                    <a:pt x="2080" y="718"/>
                  </a:lnTo>
                  <a:lnTo>
                    <a:pt x="2091" y="731"/>
                  </a:lnTo>
                  <a:lnTo>
                    <a:pt x="2101" y="741"/>
                  </a:lnTo>
                  <a:lnTo>
                    <a:pt x="2108" y="754"/>
                  </a:lnTo>
                  <a:lnTo>
                    <a:pt x="2113" y="764"/>
                  </a:lnTo>
                  <a:lnTo>
                    <a:pt x="2118" y="774"/>
                  </a:lnTo>
                  <a:lnTo>
                    <a:pt x="2120" y="784"/>
                  </a:lnTo>
                  <a:lnTo>
                    <a:pt x="2121" y="793"/>
                  </a:lnTo>
                  <a:lnTo>
                    <a:pt x="2123" y="801"/>
                  </a:lnTo>
                  <a:lnTo>
                    <a:pt x="2121" y="815"/>
                  </a:lnTo>
                  <a:lnTo>
                    <a:pt x="2120" y="826"/>
                  </a:lnTo>
                  <a:lnTo>
                    <a:pt x="2118" y="832"/>
                  </a:lnTo>
                  <a:lnTo>
                    <a:pt x="2117" y="835"/>
                  </a:lnTo>
                  <a:lnTo>
                    <a:pt x="2117" y="83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68428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1163643" y="407856"/>
            <a:ext cx="758541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 latinLnBrk="0"/>
            <a:r>
              <a:rPr lang="ko-KR" altLang="en-US" sz="2200" dirty="0" smtClean="0">
                <a:solidFill>
                  <a:schemeClr val="accent1">
                    <a:lumMod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쇄신과제 ⑤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「행정구역」을 뛰어넘는 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복지시책 추진</a:t>
            </a:r>
            <a:endParaRPr lang="ko-KR" altLang="en-US" sz="22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grpSp>
        <p:nvGrpSpPr>
          <p:cNvPr id="35" name="그룹 34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36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39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40" name="TextBox 39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41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7" name="그림 3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  <p:grpSp>
        <p:nvGrpSpPr>
          <p:cNvPr id="19" name="그룹 18"/>
          <p:cNvGrpSpPr/>
          <p:nvPr/>
        </p:nvGrpSpPr>
        <p:grpSpPr>
          <a:xfrm>
            <a:off x="1053286" y="436953"/>
            <a:ext cx="433997" cy="433997"/>
            <a:chOff x="1053286" y="515021"/>
            <a:chExt cx="433997" cy="433997"/>
          </a:xfrm>
        </p:grpSpPr>
        <p:sp>
          <p:nvSpPr>
            <p:cNvPr id="20" name="Oval 45"/>
            <p:cNvSpPr/>
            <p:nvPr/>
          </p:nvSpPr>
          <p:spPr>
            <a:xfrm>
              <a:off x="1053286" y="515021"/>
              <a:ext cx="433997" cy="433997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Freeform 13"/>
            <p:cNvSpPr>
              <a:spLocks noEditPoints="1"/>
            </p:cNvSpPr>
            <p:nvPr/>
          </p:nvSpPr>
          <p:spPr bwMode="auto">
            <a:xfrm rot="10585247" flipV="1">
              <a:off x="1160800" y="600128"/>
              <a:ext cx="218969" cy="263783"/>
            </a:xfrm>
            <a:custGeom>
              <a:avLst/>
              <a:gdLst>
                <a:gd name="T0" fmla="*/ 2022 w 2403"/>
                <a:gd name="T1" fmla="*/ 144 h 2897"/>
                <a:gd name="T2" fmla="*/ 1852 w 2403"/>
                <a:gd name="T3" fmla="*/ 57 h 2897"/>
                <a:gd name="T4" fmla="*/ 1632 w 2403"/>
                <a:gd name="T5" fmla="*/ 1 h 2897"/>
                <a:gd name="T6" fmla="*/ 1548 w 2403"/>
                <a:gd name="T7" fmla="*/ 2 h 2897"/>
                <a:gd name="T8" fmla="*/ 1491 w 2403"/>
                <a:gd name="T9" fmla="*/ 23 h 2897"/>
                <a:gd name="T10" fmla="*/ 785 w 2403"/>
                <a:gd name="T11" fmla="*/ 948 h 2897"/>
                <a:gd name="T12" fmla="*/ 48 w 2403"/>
                <a:gd name="T13" fmla="*/ 1933 h 2897"/>
                <a:gd name="T14" fmla="*/ 30 w 2403"/>
                <a:gd name="T15" fmla="*/ 1995 h 2897"/>
                <a:gd name="T16" fmla="*/ 3 w 2403"/>
                <a:gd name="T17" fmla="*/ 2340 h 2897"/>
                <a:gd name="T18" fmla="*/ 7 w 2403"/>
                <a:gd name="T19" fmla="*/ 2732 h 2897"/>
                <a:gd name="T20" fmla="*/ 27 w 2403"/>
                <a:gd name="T21" fmla="*/ 2871 h 2897"/>
                <a:gd name="T22" fmla="*/ 42 w 2403"/>
                <a:gd name="T23" fmla="*/ 2891 h 2897"/>
                <a:gd name="T24" fmla="*/ 118 w 2403"/>
                <a:gd name="T25" fmla="*/ 2896 h 2897"/>
                <a:gd name="T26" fmla="*/ 340 w 2403"/>
                <a:gd name="T27" fmla="*/ 2850 h 2897"/>
                <a:gd name="T28" fmla="*/ 724 w 2403"/>
                <a:gd name="T29" fmla="*/ 2722 h 2897"/>
                <a:gd name="T30" fmla="*/ 926 w 2403"/>
                <a:gd name="T31" fmla="*/ 2628 h 2897"/>
                <a:gd name="T32" fmla="*/ 987 w 2403"/>
                <a:gd name="T33" fmla="*/ 2578 h 2897"/>
                <a:gd name="T34" fmla="*/ 1454 w 2403"/>
                <a:gd name="T35" fmla="*/ 1961 h 2897"/>
                <a:gd name="T36" fmla="*/ 2390 w 2403"/>
                <a:gd name="T37" fmla="*/ 675 h 2897"/>
                <a:gd name="T38" fmla="*/ 2403 w 2403"/>
                <a:gd name="T39" fmla="*/ 631 h 2897"/>
                <a:gd name="T40" fmla="*/ 2392 w 2403"/>
                <a:gd name="T41" fmla="*/ 562 h 2897"/>
                <a:gd name="T42" fmla="*/ 2334 w 2403"/>
                <a:gd name="T43" fmla="*/ 447 h 2897"/>
                <a:gd name="T44" fmla="*/ 2193 w 2403"/>
                <a:gd name="T45" fmla="*/ 279 h 2897"/>
                <a:gd name="T46" fmla="*/ 1398 w 2403"/>
                <a:gd name="T47" fmla="*/ 308 h 2897"/>
                <a:gd name="T48" fmla="*/ 1421 w 2403"/>
                <a:gd name="T49" fmla="*/ 290 h 2897"/>
                <a:gd name="T50" fmla="*/ 1468 w 2403"/>
                <a:gd name="T51" fmla="*/ 287 h 2897"/>
                <a:gd name="T52" fmla="*/ 1528 w 2403"/>
                <a:gd name="T53" fmla="*/ 313 h 2897"/>
                <a:gd name="T54" fmla="*/ 1580 w 2403"/>
                <a:gd name="T55" fmla="*/ 368 h 2897"/>
                <a:gd name="T56" fmla="*/ 1587 w 2403"/>
                <a:gd name="T57" fmla="*/ 409 h 2897"/>
                <a:gd name="T58" fmla="*/ 337 w 2403"/>
                <a:gd name="T59" fmla="*/ 1902 h 2897"/>
                <a:gd name="T60" fmla="*/ 473 w 2403"/>
                <a:gd name="T61" fmla="*/ 2660 h 2897"/>
                <a:gd name="T62" fmla="*/ 364 w 2403"/>
                <a:gd name="T63" fmla="*/ 2709 h 2897"/>
                <a:gd name="T64" fmla="*/ 169 w 2403"/>
                <a:gd name="T65" fmla="*/ 2764 h 2897"/>
                <a:gd name="T66" fmla="*/ 134 w 2403"/>
                <a:gd name="T67" fmla="*/ 2763 h 2897"/>
                <a:gd name="T68" fmla="*/ 125 w 2403"/>
                <a:gd name="T69" fmla="*/ 2643 h 2897"/>
                <a:gd name="T70" fmla="*/ 137 w 2403"/>
                <a:gd name="T71" fmla="*/ 2423 h 2897"/>
                <a:gd name="T72" fmla="*/ 151 w 2403"/>
                <a:gd name="T73" fmla="*/ 2404 h 2897"/>
                <a:gd name="T74" fmla="*/ 206 w 2403"/>
                <a:gd name="T75" fmla="*/ 2409 h 2897"/>
                <a:gd name="T76" fmla="*/ 355 w 2403"/>
                <a:gd name="T77" fmla="*/ 2486 h 2897"/>
                <a:gd name="T78" fmla="*/ 454 w 2403"/>
                <a:gd name="T79" fmla="*/ 2577 h 2897"/>
                <a:gd name="T80" fmla="*/ 480 w 2403"/>
                <a:gd name="T81" fmla="*/ 2630 h 2897"/>
                <a:gd name="T82" fmla="*/ 490 w 2403"/>
                <a:gd name="T83" fmla="*/ 2117 h 2897"/>
                <a:gd name="T84" fmla="*/ 1708 w 2403"/>
                <a:gd name="T85" fmla="*/ 446 h 2897"/>
                <a:gd name="T86" fmla="*/ 1748 w 2403"/>
                <a:gd name="T87" fmla="*/ 445 h 2897"/>
                <a:gd name="T88" fmla="*/ 1821 w 2403"/>
                <a:gd name="T89" fmla="*/ 478 h 2897"/>
                <a:gd name="T90" fmla="*/ 1867 w 2403"/>
                <a:gd name="T91" fmla="*/ 520 h 2897"/>
                <a:gd name="T92" fmla="*/ 1888 w 2403"/>
                <a:gd name="T93" fmla="*/ 565 h 2897"/>
                <a:gd name="T94" fmla="*/ 624 w 2403"/>
                <a:gd name="T95" fmla="*/ 2291 h 2897"/>
                <a:gd name="T96" fmla="*/ 902 w 2403"/>
                <a:gd name="T97" fmla="*/ 2386 h 2897"/>
                <a:gd name="T98" fmla="*/ 1979 w 2403"/>
                <a:gd name="T99" fmla="*/ 672 h 2897"/>
                <a:gd name="T100" fmla="*/ 2014 w 2403"/>
                <a:gd name="T101" fmla="*/ 670 h 2897"/>
                <a:gd name="T102" fmla="*/ 2067 w 2403"/>
                <a:gd name="T103" fmla="*/ 704 h 2897"/>
                <a:gd name="T104" fmla="*/ 2108 w 2403"/>
                <a:gd name="T105" fmla="*/ 754 h 2897"/>
                <a:gd name="T106" fmla="*/ 2123 w 2403"/>
                <a:gd name="T107" fmla="*/ 801 h 2897"/>
                <a:gd name="T108" fmla="*/ 2117 w 2403"/>
                <a:gd name="T109" fmla="*/ 835 h 2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403" h="2897">
                  <a:moveTo>
                    <a:pt x="2095" y="193"/>
                  </a:moveTo>
                  <a:lnTo>
                    <a:pt x="2095" y="193"/>
                  </a:lnTo>
                  <a:lnTo>
                    <a:pt x="2071" y="176"/>
                  </a:lnTo>
                  <a:lnTo>
                    <a:pt x="2046" y="159"/>
                  </a:lnTo>
                  <a:lnTo>
                    <a:pt x="2022" y="144"/>
                  </a:lnTo>
                  <a:lnTo>
                    <a:pt x="1998" y="129"/>
                  </a:lnTo>
                  <a:lnTo>
                    <a:pt x="1974" y="115"/>
                  </a:lnTo>
                  <a:lnTo>
                    <a:pt x="1948" y="101"/>
                  </a:lnTo>
                  <a:lnTo>
                    <a:pt x="1900" y="78"/>
                  </a:lnTo>
                  <a:lnTo>
                    <a:pt x="1852" y="57"/>
                  </a:lnTo>
                  <a:lnTo>
                    <a:pt x="1803" y="40"/>
                  </a:lnTo>
                  <a:lnTo>
                    <a:pt x="1757" y="25"/>
                  </a:lnTo>
                  <a:lnTo>
                    <a:pt x="1714" y="14"/>
                  </a:lnTo>
                  <a:lnTo>
                    <a:pt x="1671" y="6"/>
                  </a:lnTo>
                  <a:lnTo>
                    <a:pt x="1632" y="1"/>
                  </a:lnTo>
                  <a:lnTo>
                    <a:pt x="1613" y="0"/>
                  </a:lnTo>
                  <a:lnTo>
                    <a:pt x="1595" y="0"/>
                  </a:lnTo>
                  <a:lnTo>
                    <a:pt x="1580" y="0"/>
                  </a:lnTo>
                  <a:lnTo>
                    <a:pt x="1564" y="1"/>
                  </a:lnTo>
                  <a:lnTo>
                    <a:pt x="1548" y="2"/>
                  </a:lnTo>
                  <a:lnTo>
                    <a:pt x="1535" y="5"/>
                  </a:lnTo>
                  <a:lnTo>
                    <a:pt x="1521" y="8"/>
                  </a:lnTo>
                  <a:lnTo>
                    <a:pt x="1511" y="12"/>
                  </a:lnTo>
                  <a:lnTo>
                    <a:pt x="1500" y="17"/>
                  </a:lnTo>
                  <a:lnTo>
                    <a:pt x="1491" y="23"/>
                  </a:lnTo>
                  <a:lnTo>
                    <a:pt x="1484" y="29"/>
                  </a:lnTo>
                  <a:lnTo>
                    <a:pt x="1477" y="36"/>
                  </a:lnTo>
                  <a:lnTo>
                    <a:pt x="1477" y="36"/>
                  </a:lnTo>
                  <a:lnTo>
                    <a:pt x="1253" y="331"/>
                  </a:lnTo>
                  <a:lnTo>
                    <a:pt x="785" y="948"/>
                  </a:lnTo>
                  <a:lnTo>
                    <a:pt x="532" y="1283"/>
                  </a:lnTo>
                  <a:lnTo>
                    <a:pt x="304" y="1584"/>
                  </a:lnTo>
                  <a:lnTo>
                    <a:pt x="134" y="1813"/>
                  </a:lnTo>
                  <a:lnTo>
                    <a:pt x="78" y="1890"/>
                  </a:lnTo>
                  <a:lnTo>
                    <a:pt x="48" y="1933"/>
                  </a:lnTo>
                  <a:lnTo>
                    <a:pt x="48" y="1933"/>
                  </a:lnTo>
                  <a:lnTo>
                    <a:pt x="43" y="1943"/>
                  </a:lnTo>
                  <a:lnTo>
                    <a:pt x="38" y="1956"/>
                  </a:lnTo>
                  <a:lnTo>
                    <a:pt x="33" y="1974"/>
                  </a:lnTo>
                  <a:lnTo>
                    <a:pt x="30" y="1995"/>
                  </a:lnTo>
                  <a:lnTo>
                    <a:pt x="23" y="2047"/>
                  </a:lnTo>
                  <a:lnTo>
                    <a:pt x="15" y="2110"/>
                  </a:lnTo>
                  <a:lnTo>
                    <a:pt x="10" y="2181"/>
                  </a:lnTo>
                  <a:lnTo>
                    <a:pt x="6" y="2259"/>
                  </a:lnTo>
                  <a:lnTo>
                    <a:pt x="3" y="2340"/>
                  </a:lnTo>
                  <a:lnTo>
                    <a:pt x="1" y="2423"/>
                  </a:lnTo>
                  <a:lnTo>
                    <a:pt x="0" y="2507"/>
                  </a:lnTo>
                  <a:lnTo>
                    <a:pt x="1" y="2588"/>
                  </a:lnTo>
                  <a:lnTo>
                    <a:pt x="3" y="2663"/>
                  </a:lnTo>
                  <a:lnTo>
                    <a:pt x="7" y="2732"/>
                  </a:lnTo>
                  <a:lnTo>
                    <a:pt x="12" y="2790"/>
                  </a:lnTo>
                  <a:lnTo>
                    <a:pt x="15" y="2815"/>
                  </a:lnTo>
                  <a:lnTo>
                    <a:pt x="19" y="2837"/>
                  </a:lnTo>
                  <a:lnTo>
                    <a:pt x="23" y="2856"/>
                  </a:lnTo>
                  <a:lnTo>
                    <a:pt x="27" y="2871"/>
                  </a:lnTo>
                  <a:lnTo>
                    <a:pt x="32" y="2882"/>
                  </a:lnTo>
                  <a:lnTo>
                    <a:pt x="35" y="2885"/>
                  </a:lnTo>
                  <a:lnTo>
                    <a:pt x="37" y="2888"/>
                  </a:lnTo>
                  <a:lnTo>
                    <a:pt x="37" y="2888"/>
                  </a:lnTo>
                  <a:lnTo>
                    <a:pt x="42" y="2891"/>
                  </a:lnTo>
                  <a:lnTo>
                    <a:pt x="47" y="2893"/>
                  </a:lnTo>
                  <a:lnTo>
                    <a:pt x="60" y="2896"/>
                  </a:lnTo>
                  <a:lnTo>
                    <a:pt x="76" y="2897"/>
                  </a:lnTo>
                  <a:lnTo>
                    <a:pt x="95" y="2897"/>
                  </a:lnTo>
                  <a:lnTo>
                    <a:pt x="118" y="2896"/>
                  </a:lnTo>
                  <a:lnTo>
                    <a:pt x="144" y="2893"/>
                  </a:lnTo>
                  <a:lnTo>
                    <a:pt x="171" y="2888"/>
                  </a:lnTo>
                  <a:lnTo>
                    <a:pt x="202" y="2883"/>
                  </a:lnTo>
                  <a:lnTo>
                    <a:pt x="267" y="2868"/>
                  </a:lnTo>
                  <a:lnTo>
                    <a:pt x="340" y="2850"/>
                  </a:lnTo>
                  <a:lnTo>
                    <a:pt x="416" y="2829"/>
                  </a:lnTo>
                  <a:lnTo>
                    <a:pt x="494" y="2804"/>
                  </a:lnTo>
                  <a:lnTo>
                    <a:pt x="573" y="2778"/>
                  </a:lnTo>
                  <a:lnTo>
                    <a:pt x="650" y="2751"/>
                  </a:lnTo>
                  <a:lnTo>
                    <a:pt x="724" y="2722"/>
                  </a:lnTo>
                  <a:lnTo>
                    <a:pt x="793" y="2694"/>
                  </a:lnTo>
                  <a:lnTo>
                    <a:pt x="854" y="2666"/>
                  </a:lnTo>
                  <a:lnTo>
                    <a:pt x="880" y="2653"/>
                  </a:lnTo>
                  <a:lnTo>
                    <a:pt x="904" y="2641"/>
                  </a:lnTo>
                  <a:lnTo>
                    <a:pt x="926" y="2628"/>
                  </a:lnTo>
                  <a:lnTo>
                    <a:pt x="946" y="2617"/>
                  </a:lnTo>
                  <a:lnTo>
                    <a:pt x="960" y="2605"/>
                  </a:lnTo>
                  <a:lnTo>
                    <a:pt x="972" y="2595"/>
                  </a:lnTo>
                  <a:lnTo>
                    <a:pt x="972" y="2595"/>
                  </a:lnTo>
                  <a:lnTo>
                    <a:pt x="987" y="2578"/>
                  </a:lnTo>
                  <a:lnTo>
                    <a:pt x="1007" y="2554"/>
                  </a:lnTo>
                  <a:lnTo>
                    <a:pt x="1064" y="2480"/>
                  </a:lnTo>
                  <a:lnTo>
                    <a:pt x="1142" y="2380"/>
                  </a:lnTo>
                  <a:lnTo>
                    <a:pt x="1234" y="2257"/>
                  </a:lnTo>
                  <a:lnTo>
                    <a:pt x="1454" y="1961"/>
                  </a:lnTo>
                  <a:lnTo>
                    <a:pt x="1697" y="1630"/>
                  </a:lnTo>
                  <a:lnTo>
                    <a:pt x="1939" y="1298"/>
                  </a:lnTo>
                  <a:lnTo>
                    <a:pt x="2153" y="1004"/>
                  </a:lnTo>
                  <a:lnTo>
                    <a:pt x="2311" y="784"/>
                  </a:lnTo>
                  <a:lnTo>
                    <a:pt x="2390" y="675"/>
                  </a:lnTo>
                  <a:lnTo>
                    <a:pt x="2390" y="675"/>
                  </a:lnTo>
                  <a:lnTo>
                    <a:pt x="2395" y="665"/>
                  </a:lnTo>
                  <a:lnTo>
                    <a:pt x="2400" y="654"/>
                  </a:lnTo>
                  <a:lnTo>
                    <a:pt x="2402" y="643"/>
                  </a:lnTo>
                  <a:lnTo>
                    <a:pt x="2403" y="631"/>
                  </a:lnTo>
                  <a:lnTo>
                    <a:pt x="2403" y="618"/>
                  </a:lnTo>
                  <a:lnTo>
                    <a:pt x="2403" y="605"/>
                  </a:lnTo>
                  <a:lnTo>
                    <a:pt x="2401" y="591"/>
                  </a:lnTo>
                  <a:lnTo>
                    <a:pt x="2397" y="577"/>
                  </a:lnTo>
                  <a:lnTo>
                    <a:pt x="2392" y="562"/>
                  </a:lnTo>
                  <a:lnTo>
                    <a:pt x="2386" y="547"/>
                  </a:lnTo>
                  <a:lnTo>
                    <a:pt x="2380" y="531"/>
                  </a:lnTo>
                  <a:lnTo>
                    <a:pt x="2373" y="514"/>
                  </a:lnTo>
                  <a:lnTo>
                    <a:pt x="2355" y="481"/>
                  </a:lnTo>
                  <a:lnTo>
                    <a:pt x="2334" y="447"/>
                  </a:lnTo>
                  <a:lnTo>
                    <a:pt x="2310" y="412"/>
                  </a:lnTo>
                  <a:lnTo>
                    <a:pt x="2284" y="378"/>
                  </a:lnTo>
                  <a:lnTo>
                    <a:pt x="2255" y="345"/>
                  </a:lnTo>
                  <a:lnTo>
                    <a:pt x="2226" y="311"/>
                  </a:lnTo>
                  <a:lnTo>
                    <a:pt x="2193" y="279"/>
                  </a:lnTo>
                  <a:lnTo>
                    <a:pt x="2161" y="248"/>
                  </a:lnTo>
                  <a:lnTo>
                    <a:pt x="2128" y="220"/>
                  </a:lnTo>
                  <a:lnTo>
                    <a:pt x="2095" y="193"/>
                  </a:lnTo>
                  <a:lnTo>
                    <a:pt x="2095" y="193"/>
                  </a:lnTo>
                  <a:close/>
                  <a:moveTo>
                    <a:pt x="1398" y="308"/>
                  </a:moveTo>
                  <a:lnTo>
                    <a:pt x="1398" y="308"/>
                  </a:lnTo>
                  <a:lnTo>
                    <a:pt x="1400" y="306"/>
                  </a:lnTo>
                  <a:lnTo>
                    <a:pt x="1405" y="300"/>
                  </a:lnTo>
                  <a:lnTo>
                    <a:pt x="1415" y="294"/>
                  </a:lnTo>
                  <a:lnTo>
                    <a:pt x="1421" y="290"/>
                  </a:lnTo>
                  <a:lnTo>
                    <a:pt x="1428" y="288"/>
                  </a:lnTo>
                  <a:lnTo>
                    <a:pt x="1437" y="285"/>
                  </a:lnTo>
                  <a:lnTo>
                    <a:pt x="1445" y="284"/>
                  </a:lnTo>
                  <a:lnTo>
                    <a:pt x="1456" y="284"/>
                  </a:lnTo>
                  <a:lnTo>
                    <a:pt x="1468" y="287"/>
                  </a:lnTo>
                  <a:lnTo>
                    <a:pt x="1482" y="290"/>
                  </a:lnTo>
                  <a:lnTo>
                    <a:pt x="1495" y="295"/>
                  </a:lnTo>
                  <a:lnTo>
                    <a:pt x="1511" y="303"/>
                  </a:lnTo>
                  <a:lnTo>
                    <a:pt x="1528" y="313"/>
                  </a:lnTo>
                  <a:lnTo>
                    <a:pt x="1528" y="313"/>
                  </a:lnTo>
                  <a:lnTo>
                    <a:pt x="1542" y="325"/>
                  </a:lnTo>
                  <a:lnTo>
                    <a:pt x="1555" y="336"/>
                  </a:lnTo>
                  <a:lnTo>
                    <a:pt x="1565" y="347"/>
                  </a:lnTo>
                  <a:lnTo>
                    <a:pt x="1573" y="357"/>
                  </a:lnTo>
                  <a:lnTo>
                    <a:pt x="1580" y="368"/>
                  </a:lnTo>
                  <a:lnTo>
                    <a:pt x="1583" y="376"/>
                  </a:lnTo>
                  <a:lnTo>
                    <a:pt x="1586" y="386"/>
                  </a:lnTo>
                  <a:lnTo>
                    <a:pt x="1587" y="394"/>
                  </a:lnTo>
                  <a:lnTo>
                    <a:pt x="1588" y="401"/>
                  </a:lnTo>
                  <a:lnTo>
                    <a:pt x="1587" y="409"/>
                  </a:lnTo>
                  <a:lnTo>
                    <a:pt x="1584" y="420"/>
                  </a:lnTo>
                  <a:lnTo>
                    <a:pt x="1582" y="427"/>
                  </a:lnTo>
                  <a:lnTo>
                    <a:pt x="1581" y="429"/>
                  </a:lnTo>
                  <a:lnTo>
                    <a:pt x="337" y="2076"/>
                  </a:lnTo>
                  <a:lnTo>
                    <a:pt x="337" y="1902"/>
                  </a:lnTo>
                  <a:lnTo>
                    <a:pt x="239" y="1865"/>
                  </a:lnTo>
                  <a:lnTo>
                    <a:pt x="1398" y="308"/>
                  </a:lnTo>
                  <a:close/>
                  <a:moveTo>
                    <a:pt x="475" y="2657"/>
                  </a:moveTo>
                  <a:lnTo>
                    <a:pt x="475" y="2657"/>
                  </a:lnTo>
                  <a:lnTo>
                    <a:pt x="473" y="2660"/>
                  </a:lnTo>
                  <a:lnTo>
                    <a:pt x="469" y="2664"/>
                  </a:lnTo>
                  <a:lnTo>
                    <a:pt x="456" y="2671"/>
                  </a:lnTo>
                  <a:lnTo>
                    <a:pt x="439" y="2680"/>
                  </a:lnTo>
                  <a:lnTo>
                    <a:pt x="417" y="2689"/>
                  </a:lnTo>
                  <a:lnTo>
                    <a:pt x="364" y="2709"/>
                  </a:lnTo>
                  <a:lnTo>
                    <a:pt x="304" y="2729"/>
                  </a:lnTo>
                  <a:lnTo>
                    <a:pt x="244" y="2746"/>
                  </a:lnTo>
                  <a:lnTo>
                    <a:pt x="216" y="2754"/>
                  </a:lnTo>
                  <a:lnTo>
                    <a:pt x="191" y="2760"/>
                  </a:lnTo>
                  <a:lnTo>
                    <a:pt x="169" y="2764"/>
                  </a:lnTo>
                  <a:lnTo>
                    <a:pt x="152" y="2767"/>
                  </a:lnTo>
                  <a:lnTo>
                    <a:pt x="140" y="2767"/>
                  </a:lnTo>
                  <a:lnTo>
                    <a:pt x="135" y="2766"/>
                  </a:lnTo>
                  <a:lnTo>
                    <a:pt x="134" y="2763"/>
                  </a:lnTo>
                  <a:lnTo>
                    <a:pt x="134" y="2763"/>
                  </a:lnTo>
                  <a:lnTo>
                    <a:pt x="130" y="2756"/>
                  </a:lnTo>
                  <a:lnTo>
                    <a:pt x="129" y="2743"/>
                  </a:lnTo>
                  <a:lnTo>
                    <a:pt x="127" y="2723"/>
                  </a:lnTo>
                  <a:lnTo>
                    <a:pt x="127" y="2700"/>
                  </a:lnTo>
                  <a:lnTo>
                    <a:pt x="125" y="2643"/>
                  </a:lnTo>
                  <a:lnTo>
                    <a:pt x="127" y="2581"/>
                  </a:lnTo>
                  <a:lnTo>
                    <a:pt x="129" y="2518"/>
                  </a:lnTo>
                  <a:lnTo>
                    <a:pt x="133" y="2462"/>
                  </a:lnTo>
                  <a:lnTo>
                    <a:pt x="135" y="2440"/>
                  </a:lnTo>
                  <a:lnTo>
                    <a:pt x="137" y="2423"/>
                  </a:lnTo>
                  <a:lnTo>
                    <a:pt x="140" y="2411"/>
                  </a:lnTo>
                  <a:lnTo>
                    <a:pt x="141" y="2407"/>
                  </a:lnTo>
                  <a:lnTo>
                    <a:pt x="142" y="2406"/>
                  </a:lnTo>
                  <a:lnTo>
                    <a:pt x="142" y="2406"/>
                  </a:lnTo>
                  <a:lnTo>
                    <a:pt x="151" y="2404"/>
                  </a:lnTo>
                  <a:lnTo>
                    <a:pt x="159" y="2403"/>
                  </a:lnTo>
                  <a:lnTo>
                    <a:pt x="170" y="2403"/>
                  </a:lnTo>
                  <a:lnTo>
                    <a:pt x="181" y="2404"/>
                  </a:lnTo>
                  <a:lnTo>
                    <a:pt x="193" y="2406"/>
                  </a:lnTo>
                  <a:lnTo>
                    <a:pt x="206" y="2409"/>
                  </a:lnTo>
                  <a:lnTo>
                    <a:pt x="234" y="2418"/>
                  </a:lnTo>
                  <a:lnTo>
                    <a:pt x="263" y="2432"/>
                  </a:lnTo>
                  <a:lnTo>
                    <a:pt x="295" y="2447"/>
                  </a:lnTo>
                  <a:lnTo>
                    <a:pt x="325" y="2466"/>
                  </a:lnTo>
                  <a:lnTo>
                    <a:pt x="355" y="2486"/>
                  </a:lnTo>
                  <a:lnTo>
                    <a:pt x="384" y="2508"/>
                  </a:lnTo>
                  <a:lnTo>
                    <a:pt x="411" y="2531"/>
                  </a:lnTo>
                  <a:lnTo>
                    <a:pt x="435" y="2554"/>
                  </a:lnTo>
                  <a:lnTo>
                    <a:pt x="445" y="2565"/>
                  </a:lnTo>
                  <a:lnTo>
                    <a:pt x="454" y="2577"/>
                  </a:lnTo>
                  <a:lnTo>
                    <a:pt x="462" y="2588"/>
                  </a:lnTo>
                  <a:lnTo>
                    <a:pt x="469" y="2599"/>
                  </a:lnTo>
                  <a:lnTo>
                    <a:pt x="474" y="2610"/>
                  </a:lnTo>
                  <a:lnTo>
                    <a:pt x="477" y="2620"/>
                  </a:lnTo>
                  <a:lnTo>
                    <a:pt x="480" y="2630"/>
                  </a:lnTo>
                  <a:lnTo>
                    <a:pt x="480" y="2640"/>
                  </a:lnTo>
                  <a:lnTo>
                    <a:pt x="479" y="2649"/>
                  </a:lnTo>
                  <a:lnTo>
                    <a:pt x="475" y="2657"/>
                  </a:lnTo>
                  <a:lnTo>
                    <a:pt x="475" y="2657"/>
                  </a:lnTo>
                  <a:close/>
                  <a:moveTo>
                    <a:pt x="490" y="2117"/>
                  </a:moveTo>
                  <a:lnTo>
                    <a:pt x="1692" y="455"/>
                  </a:lnTo>
                  <a:lnTo>
                    <a:pt x="1692" y="455"/>
                  </a:lnTo>
                  <a:lnTo>
                    <a:pt x="1694" y="453"/>
                  </a:lnTo>
                  <a:lnTo>
                    <a:pt x="1699" y="450"/>
                  </a:lnTo>
                  <a:lnTo>
                    <a:pt x="1708" y="446"/>
                  </a:lnTo>
                  <a:lnTo>
                    <a:pt x="1713" y="444"/>
                  </a:lnTo>
                  <a:lnTo>
                    <a:pt x="1720" y="443"/>
                  </a:lnTo>
                  <a:lnTo>
                    <a:pt x="1728" y="443"/>
                  </a:lnTo>
                  <a:lnTo>
                    <a:pt x="1737" y="444"/>
                  </a:lnTo>
                  <a:lnTo>
                    <a:pt x="1748" y="445"/>
                  </a:lnTo>
                  <a:lnTo>
                    <a:pt x="1760" y="449"/>
                  </a:lnTo>
                  <a:lnTo>
                    <a:pt x="1773" y="452"/>
                  </a:lnTo>
                  <a:lnTo>
                    <a:pt x="1788" y="460"/>
                  </a:lnTo>
                  <a:lnTo>
                    <a:pt x="1803" y="468"/>
                  </a:lnTo>
                  <a:lnTo>
                    <a:pt x="1821" y="478"/>
                  </a:lnTo>
                  <a:lnTo>
                    <a:pt x="1821" y="478"/>
                  </a:lnTo>
                  <a:lnTo>
                    <a:pt x="1836" y="489"/>
                  </a:lnTo>
                  <a:lnTo>
                    <a:pt x="1849" y="499"/>
                  </a:lnTo>
                  <a:lnTo>
                    <a:pt x="1859" y="509"/>
                  </a:lnTo>
                  <a:lnTo>
                    <a:pt x="1867" y="520"/>
                  </a:lnTo>
                  <a:lnTo>
                    <a:pt x="1875" y="530"/>
                  </a:lnTo>
                  <a:lnTo>
                    <a:pt x="1880" y="539"/>
                  </a:lnTo>
                  <a:lnTo>
                    <a:pt x="1883" y="549"/>
                  </a:lnTo>
                  <a:lnTo>
                    <a:pt x="1887" y="558"/>
                  </a:lnTo>
                  <a:lnTo>
                    <a:pt x="1888" y="565"/>
                  </a:lnTo>
                  <a:lnTo>
                    <a:pt x="1888" y="572"/>
                  </a:lnTo>
                  <a:lnTo>
                    <a:pt x="1888" y="584"/>
                  </a:lnTo>
                  <a:lnTo>
                    <a:pt x="1887" y="591"/>
                  </a:lnTo>
                  <a:lnTo>
                    <a:pt x="1886" y="594"/>
                  </a:lnTo>
                  <a:lnTo>
                    <a:pt x="624" y="2291"/>
                  </a:lnTo>
                  <a:lnTo>
                    <a:pt x="624" y="2094"/>
                  </a:lnTo>
                  <a:lnTo>
                    <a:pt x="490" y="2117"/>
                  </a:lnTo>
                  <a:close/>
                  <a:moveTo>
                    <a:pt x="2117" y="835"/>
                  </a:moveTo>
                  <a:lnTo>
                    <a:pt x="937" y="2462"/>
                  </a:lnTo>
                  <a:lnTo>
                    <a:pt x="902" y="2386"/>
                  </a:lnTo>
                  <a:lnTo>
                    <a:pt x="750" y="2359"/>
                  </a:lnTo>
                  <a:lnTo>
                    <a:pt x="1973" y="677"/>
                  </a:lnTo>
                  <a:lnTo>
                    <a:pt x="1973" y="677"/>
                  </a:lnTo>
                  <a:lnTo>
                    <a:pt x="1975" y="676"/>
                  </a:lnTo>
                  <a:lnTo>
                    <a:pt x="1979" y="672"/>
                  </a:lnTo>
                  <a:lnTo>
                    <a:pt x="1987" y="669"/>
                  </a:lnTo>
                  <a:lnTo>
                    <a:pt x="1992" y="669"/>
                  </a:lnTo>
                  <a:lnTo>
                    <a:pt x="1998" y="668"/>
                  </a:lnTo>
                  <a:lnTo>
                    <a:pt x="2005" y="669"/>
                  </a:lnTo>
                  <a:lnTo>
                    <a:pt x="2014" y="670"/>
                  </a:lnTo>
                  <a:lnTo>
                    <a:pt x="2022" y="674"/>
                  </a:lnTo>
                  <a:lnTo>
                    <a:pt x="2032" y="679"/>
                  </a:lnTo>
                  <a:lnTo>
                    <a:pt x="2043" y="685"/>
                  </a:lnTo>
                  <a:lnTo>
                    <a:pt x="2055" y="693"/>
                  </a:lnTo>
                  <a:lnTo>
                    <a:pt x="2067" y="704"/>
                  </a:lnTo>
                  <a:lnTo>
                    <a:pt x="2080" y="718"/>
                  </a:lnTo>
                  <a:lnTo>
                    <a:pt x="2080" y="718"/>
                  </a:lnTo>
                  <a:lnTo>
                    <a:pt x="2091" y="731"/>
                  </a:lnTo>
                  <a:lnTo>
                    <a:pt x="2101" y="741"/>
                  </a:lnTo>
                  <a:lnTo>
                    <a:pt x="2108" y="754"/>
                  </a:lnTo>
                  <a:lnTo>
                    <a:pt x="2113" y="764"/>
                  </a:lnTo>
                  <a:lnTo>
                    <a:pt x="2118" y="774"/>
                  </a:lnTo>
                  <a:lnTo>
                    <a:pt x="2120" y="784"/>
                  </a:lnTo>
                  <a:lnTo>
                    <a:pt x="2121" y="793"/>
                  </a:lnTo>
                  <a:lnTo>
                    <a:pt x="2123" y="801"/>
                  </a:lnTo>
                  <a:lnTo>
                    <a:pt x="2121" y="815"/>
                  </a:lnTo>
                  <a:lnTo>
                    <a:pt x="2120" y="826"/>
                  </a:lnTo>
                  <a:lnTo>
                    <a:pt x="2118" y="832"/>
                  </a:lnTo>
                  <a:lnTo>
                    <a:pt x="2117" y="835"/>
                  </a:lnTo>
                  <a:lnTo>
                    <a:pt x="2117" y="83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2" name="TextBox 21"/>
          <p:cNvSpPr txBox="1"/>
          <p:nvPr/>
        </p:nvSpPr>
        <p:spPr>
          <a:xfrm>
            <a:off x="476230" y="1157404"/>
            <a:ext cx="8344242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&lt;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예 시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&gt;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시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군 경제지역 거주 주민이 인접 시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군 보건소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지소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진료소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이용하는 경우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</a:p>
          <a:p>
            <a:pPr fontAlgn="base">
              <a:lnSpc>
                <a:spcPct val="150000"/>
              </a:lnSpc>
            </a:pP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예방접종 등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요구시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거부 상황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일부 인접 시장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군수간 개별 「협약」체결 하여 비용부담 조정 등 불편</a:t>
            </a:r>
            <a:endParaRPr lang="en-US" altLang="ko-KR" sz="14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보건복지부 법규상 시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군 관계 없이 가까운 보건소에서 동일한 서비스 제공토록 규정화</a:t>
            </a:r>
            <a:endParaRPr lang="en-US" altLang="ko-KR" sz="1600" b="1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공공 화장장 </a:t>
            </a: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이용시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타시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군 주민의 경우 가격차별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10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배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등 서비스 제공에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차이</a:t>
            </a:r>
            <a:endParaRPr lang="en-US" altLang="ko-KR" sz="16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전국적인 차원에서 균등한 서비스 제공토록 규정화 및 수준차이 최소화</a:t>
            </a:r>
            <a:endParaRPr lang="en-US" altLang="ko-KR" sz="1600" b="1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24" name="오른쪽 화살표 23"/>
          <p:cNvSpPr/>
          <p:nvPr/>
        </p:nvSpPr>
        <p:spPr>
          <a:xfrm>
            <a:off x="612898" y="281306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오른쪽 화살표 24"/>
          <p:cNvSpPr/>
          <p:nvPr/>
        </p:nvSpPr>
        <p:spPr>
          <a:xfrm>
            <a:off x="612898" y="391882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5168" y="4581128"/>
            <a:ext cx="7488832" cy="261796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그림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49" y="4293096"/>
            <a:ext cx="6336704" cy="221519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TextBox 5"/>
          <p:cNvSpPr txBox="1"/>
          <p:nvPr/>
        </p:nvSpPr>
        <p:spPr>
          <a:xfrm rot="668239">
            <a:off x="5148065" y="5790197"/>
            <a:ext cx="13681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A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시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군</a:t>
            </a:r>
            <a:endParaRPr lang="ko-KR" altLang="en-US" sz="16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6" name="TextBox 25"/>
          <p:cNvSpPr txBox="1"/>
          <p:nvPr/>
        </p:nvSpPr>
        <p:spPr>
          <a:xfrm rot="668239">
            <a:off x="1669038" y="6028677"/>
            <a:ext cx="13681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B </a:t>
            </a: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시</a:t>
            </a:r>
            <a:r>
              <a:rPr lang="en-US" altLang="ko-KR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군</a:t>
            </a:r>
            <a:endParaRPr lang="ko-KR" altLang="en-US" sz="12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 rot="176962">
            <a:off x="5077808" y="4869160"/>
            <a:ext cx="2713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보</a:t>
            </a:r>
            <a:endParaRPr lang="en-US" altLang="ko-KR" sz="12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건</a:t>
            </a:r>
            <a:endParaRPr lang="en-US" altLang="ko-KR" sz="12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r>
              <a:rPr lang="ko-KR" altLang="en-US" sz="1200" dirty="0">
                <a:latin typeface="HY견고딕" panose="02030600000101010101" pitchFamily="18" charset="-127"/>
                <a:ea typeface="HY견고딕" panose="02030600000101010101" pitchFamily="18" charset="-127"/>
              </a:rPr>
              <a:t>소</a:t>
            </a:r>
          </a:p>
        </p:txBody>
      </p:sp>
      <p:sp>
        <p:nvSpPr>
          <p:cNvPr id="8" name="TextBox 7"/>
          <p:cNvSpPr txBox="1"/>
          <p:nvPr/>
        </p:nvSpPr>
        <p:spPr>
          <a:xfrm rot="20132005">
            <a:off x="7034056" y="5411031"/>
            <a:ext cx="86409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공공화장터</a:t>
            </a:r>
            <a:endParaRPr lang="ko-KR" altLang="en-US" sz="100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23576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897515" y="392953"/>
            <a:ext cx="8006219" cy="3754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200" dirty="0" smtClean="0">
                <a:solidFill>
                  <a:schemeClr val="accent1">
                    <a:lumMod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쇄신과제 ⑥ 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장애인 이동권 향상</a:t>
            </a:r>
            <a:r>
              <a:rPr lang="ko-KR" altLang="en-US" sz="2300" dirty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등 지원 확대</a:t>
            </a:r>
            <a:endParaRPr lang="en-US" sz="23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841449" y="5638905"/>
            <a:ext cx="811835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공적 급여 품목 등록 통한 지원정책 추진 등 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장애인 정책의 </a:t>
            </a:r>
            <a:endParaRPr lang="en-US" altLang="ko-KR" sz="220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각론화</a:t>
            </a:r>
            <a:r>
              <a:rPr lang="en-US" altLang="ko-KR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다양화</a:t>
            </a:r>
            <a:r>
              <a:rPr lang="en-US" altLang="ko-KR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현장화 </a:t>
            </a:r>
            <a:endParaRPr lang="ko-KR" altLang="en-US" sz="22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6230" y="1027156"/>
            <a:ext cx="834424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이동에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불편을 겪고 있는 장애인 및 노인 등을 위한 복지차량 이용 대상자 </a:t>
            </a:r>
            <a:r>
              <a:rPr lang="ko-KR" altLang="en-US" sz="16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,300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 명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우리나라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별 장애인의 이동권 향상을 위한 지원정책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단순한 세제혜택에만 집중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미국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유럽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일본 등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복지선진국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세제혜택 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+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차량구입비 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+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이동편의 개조비용 등 지원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북유럽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미국은 정부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서유럽은 사회보험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일본은 정부와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지자체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복지차량 구입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등 지원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복지차량 개조서비스의 지원유형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탑승보조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이송보조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운전보조 장치 등 편의유형별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지원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31" name="오른쪽 화살표 30"/>
          <p:cNvSpPr/>
          <p:nvPr/>
        </p:nvSpPr>
        <p:spPr>
          <a:xfrm>
            <a:off x="7228082" y="119988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2" name="오른쪽 화살표 31"/>
          <p:cNvSpPr/>
          <p:nvPr/>
        </p:nvSpPr>
        <p:spPr>
          <a:xfrm>
            <a:off x="3612163" y="193037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3" name="오른쪽 화살표 32"/>
          <p:cNvSpPr/>
          <p:nvPr/>
        </p:nvSpPr>
        <p:spPr>
          <a:xfrm>
            <a:off x="5580112" y="155679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4" name="오른쪽 화살표 33"/>
          <p:cNvSpPr/>
          <p:nvPr/>
        </p:nvSpPr>
        <p:spPr>
          <a:xfrm>
            <a:off x="371366" y="5805264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35" name="그룹 34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36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39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40" name="TextBox 39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41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7" name="그림 3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  <p:sp>
        <p:nvSpPr>
          <p:cNvPr id="18" name="오른쪽 화살표 17"/>
          <p:cNvSpPr/>
          <p:nvPr/>
        </p:nvSpPr>
        <p:spPr>
          <a:xfrm>
            <a:off x="6372200" y="231378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오른쪽 화살표 18"/>
          <p:cNvSpPr/>
          <p:nvPr/>
        </p:nvSpPr>
        <p:spPr>
          <a:xfrm>
            <a:off x="3728186" y="265988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TextBox 1"/>
          <p:cNvSpPr txBox="1"/>
          <p:nvPr/>
        </p:nvSpPr>
        <p:spPr>
          <a:xfrm>
            <a:off x="730178" y="5089540"/>
            <a:ext cx="2324585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복지차량 </a:t>
            </a:r>
            <a:r>
              <a:rPr lang="ko-KR" altLang="en-US" sz="1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탑승보조장치</a:t>
            </a:r>
            <a:endParaRPr lang="ko-KR" altLang="en-US" sz="13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3612163" y="5087362"/>
            <a:ext cx="2214399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복지차량 </a:t>
            </a:r>
            <a:r>
              <a:rPr lang="ko-KR" altLang="en-US" sz="1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이송보조장치</a:t>
            </a:r>
            <a:endParaRPr lang="ko-KR" altLang="en-US" sz="13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329294" y="5089540"/>
            <a:ext cx="2203145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복지차량 </a:t>
            </a:r>
            <a:r>
              <a:rPr lang="ko-KR" altLang="en-US" sz="1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운전보조장치</a:t>
            </a:r>
            <a:endParaRPr lang="ko-KR" altLang="en-US" sz="13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2052" name="Picture 4" descr="http://cfile234.uf.daum.net/image/2258564B538F927A19134C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5516" y="3356991"/>
            <a:ext cx="2618464" cy="159419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http://blog.hyundai.co.kr/upload/common/activeSquare/binary/clip_image010%5b14%5d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4296" y="3356992"/>
            <a:ext cx="2621562" cy="160743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http://cfile227.uf.daum.net/image/2519C84B538F927B1C7E8E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616" y="3356991"/>
            <a:ext cx="2832482" cy="159419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6" name="그룹 25"/>
          <p:cNvGrpSpPr/>
          <p:nvPr/>
        </p:nvGrpSpPr>
        <p:grpSpPr>
          <a:xfrm>
            <a:off x="1370560" y="363698"/>
            <a:ext cx="433997" cy="433997"/>
            <a:chOff x="1053286" y="515021"/>
            <a:chExt cx="433997" cy="433997"/>
          </a:xfrm>
        </p:grpSpPr>
        <p:sp>
          <p:nvSpPr>
            <p:cNvPr id="27" name="Oval 45"/>
            <p:cNvSpPr/>
            <p:nvPr/>
          </p:nvSpPr>
          <p:spPr>
            <a:xfrm>
              <a:off x="1053286" y="515021"/>
              <a:ext cx="433997" cy="433997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Freeform 13"/>
            <p:cNvSpPr>
              <a:spLocks noEditPoints="1"/>
            </p:cNvSpPr>
            <p:nvPr/>
          </p:nvSpPr>
          <p:spPr bwMode="auto">
            <a:xfrm rot="10585247" flipV="1">
              <a:off x="1160800" y="600128"/>
              <a:ext cx="218969" cy="263783"/>
            </a:xfrm>
            <a:custGeom>
              <a:avLst/>
              <a:gdLst>
                <a:gd name="T0" fmla="*/ 2022 w 2403"/>
                <a:gd name="T1" fmla="*/ 144 h 2897"/>
                <a:gd name="T2" fmla="*/ 1852 w 2403"/>
                <a:gd name="T3" fmla="*/ 57 h 2897"/>
                <a:gd name="T4" fmla="*/ 1632 w 2403"/>
                <a:gd name="T5" fmla="*/ 1 h 2897"/>
                <a:gd name="T6" fmla="*/ 1548 w 2403"/>
                <a:gd name="T7" fmla="*/ 2 h 2897"/>
                <a:gd name="T8" fmla="*/ 1491 w 2403"/>
                <a:gd name="T9" fmla="*/ 23 h 2897"/>
                <a:gd name="T10" fmla="*/ 785 w 2403"/>
                <a:gd name="T11" fmla="*/ 948 h 2897"/>
                <a:gd name="T12" fmla="*/ 48 w 2403"/>
                <a:gd name="T13" fmla="*/ 1933 h 2897"/>
                <a:gd name="T14" fmla="*/ 30 w 2403"/>
                <a:gd name="T15" fmla="*/ 1995 h 2897"/>
                <a:gd name="T16" fmla="*/ 3 w 2403"/>
                <a:gd name="T17" fmla="*/ 2340 h 2897"/>
                <a:gd name="T18" fmla="*/ 7 w 2403"/>
                <a:gd name="T19" fmla="*/ 2732 h 2897"/>
                <a:gd name="T20" fmla="*/ 27 w 2403"/>
                <a:gd name="T21" fmla="*/ 2871 h 2897"/>
                <a:gd name="T22" fmla="*/ 42 w 2403"/>
                <a:gd name="T23" fmla="*/ 2891 h 2897"/>
                <a:gd name="T24" fmla="*/ 118 w 2403"/>
                <a:gd name="T25" fmla="*/ 2896 h 2897"/>
                <a:gd name="T26" fmla="*/ 340 w 2403"/>
                <a:gd name="T27" fmla="*/ 2850 h 2897"/>
                <a:gd name="T28" fmla="*/ 724 w 2403"/>
                <a:gd name="T29" fmla="*/ 2722 h 2897"/>
                <a:gd name="T30" fmla="*/ 926 w 2403"/>
                <a:gd name="T31" fmla="*/ 2628 h 2897"/>
                <a:gd name="T32" fmla="*/ 987 w 2403"/>
                <a:gd name="T33" fmla="*/ 2578 h 2897"/>
                <a:gd name="T34" fmla="*/ 1454 w 2403"/>
                <a:gd name="T35" fmla="*/ 1961 h 2897"/>
                <a:gd name="T36" fmla="*/ 2390 w 2403"/>
                <a:gd name="T37" fmla="*/ 675 h 2897"/>
                <a:gd name="T38" fmla="*/ 2403 w 2403"/>
                <a:gd name="T39" fmla="*/ 631 h 2897"/>
                <a:gd name="T40" fmla="*/ 2392 w 2403"/>
                <a:gd name="T41" fmla="*/ 562 h 2897"/>
                <a:gd name="T42" fmla="*/ 2334 w 2403"/>
                <a:gd name="T43" fmla="*/ 447 h 2897"/>
                <a:gd name="T44" fmla="*/ 2193 w 2403"/>
                <a:gd name="T45" fmla="*/ 279 h 2897"/>
                <a:gd name="T46" fmla="*/ 1398 w 2403"/>
                <a:gd name="T47" fmla="*/ 308 h 2897"/>
                <a:gd name="T48" fmla="*/ 1421 w 2403"/>
                <a:gd name="T49" fmla="*/ 290 h 2897"/>
                <a:gd name="T50" fmla="*/ 1468 w 2403"/>
                <a:gd name="T51" fmla="*/ 287 h 2897"/>
                <a:gd name="T52" fmla="*/ 1528 w 2403"/>
                <a:gd name="T53" fmla="*/ 313 h 2897"/>
                <a:gd name="T54" fmla="*/ 1580 w 2403"/>
                <a:gd name="T55" fmla="*/ 368 h 2897"/>
                <a:gd name="T56" fmla="*/ 1587 w 2403"/>
                <a:gd name="T57" fmla="*/ 409 h 2897"/>
                <a:gd name="T58" fmla="*/ 337 w 2403"/>
                <a:gd name="T59" fmla="*/ 1902 h 2897"/>
                <a:gd name="T60" fmla="*/ 473 w 2403"/>
                <a:gd name="T61" fmla="*/ 2660 h 2897"/>
                <a:gd name="T62" fmla="*/ 364 w 2403"/>
                <a:gd name="T63" fmla="*/ 2709 h 2897"/>
                <a:gd name="T64" fmla="*/ 169 w 2403"/>
                <a:gd name="T65" fmla="*/ 2764 h 2897"/>
                <a:gd name="T66" fmla="*/ 134 w 2403"/>
                <a:gd name="T67" fmla="*/ 2763 h 2897"/>
                <a:gd name="T68" fmla="*/ 125 w 2403"/>
                <a:gd name="T69" fmla="*/ 2643 h 2897"/>
                <a:gd name="T70" fmla="*/ 137 w 2403"/>
                <a:gd name="T71" fmla="*/ 2423 h 2897"/>
                <a:gd name="T72" fmla="*/ 151 w 2403"/>
                <a:gd name="T73" fmla="*/ 2404 h 2897"/>
                <a:gd name="T74" fmla="*/ 206 w 2403"/>
                <a:gd name="T75" fmla="*/ 2409 h 2897"/>
                <a:gd name="T76" fmla="*/ 355 w 2403"/>
                <a:gd name="T77" fmla="*/ 2486 h 2897"/>
                <a:gd name="T78" fmla="*/ 454 w 2403"/>
                <a:gd name="T79" fmla="*/ 2577 h 2897"/>
                <a:gd name="T80" fmla="*/ 480 w 2403"/>
                <a:gd name="T81" fmla="*/ 2630 h 2897"/>
                <a:gd name="T82" fmla="*/ 490 w 2403"/>
                <a:gd name="T83" fmla="*/ 2117 h 2897"/>
                <a:gd name="T84" fmla="*/ 1708 w 2403"/>
                <a:gd name="T85" fmla="*/ 446 h 2897"/>
                <a:gd name="T86" fmla="*/ 1748 w 2403"/>
                <a:gd name="T87" fmla="*/ 445 h 2897"/>
                <a:gd name="T88" fmla="*/ 1821 w 2403"/>
                <a:gd name="T89" fmla="*/ 478 h 2897"/>
                <a:gd name="T90" fmla="*/ 1867 w 2403"/>
                <a:gd name="T91" fmla="*/ 520 h 2897"/>
                <a:gd name="T92" fmla="*/ 1888 w 2403"/>
                <a:gd name="T93" fmla="*/ 565 h 2897"/>
                <a:gd name="T94" fmla="*/ 624 w 2403"/>
                <a:gd name="T95" fmla="*/ 2291 h 2897"/>
                <a:gd name="T96" fmla="*/ 902 w 2403"/>
                <a:gd name="T97" fmla="*/ 2386 h 2897"/>
                <a:gd name="T98" fmla="*/ 1979 w 2403"/>
                <a:gd name="T99" fmla="*/ 672 h 2897"/>
                <a:gd name="T100" fmla="*/ 2014 w 2403"/>
                <a:gd name="T101" fmla="*/ 670 h 2897"/>
                <a:gd name="T102" fmla="*/ 2067 w 2403"/>
                <a:gd name="T103" fmla="*/ 704 h 2897"/>
                <a:gd name="T104" fmla="*/ 2108 w 2403"/>
                <a:gd name="T105" fmla="*/ 754 h 2897"/>
                <a:gd name="T106" fmla="*/ 2123 w 2403"/>
                <a:gd name="T107" fmla="*/ 801 h 2897"/>
                <a:gd name="T108" fmla="*/ 2117 w 2403"/>
                <a:gd name="T109" fmla="*/ 835 h 2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403" h="2897">
                  <a:moveTo>
                    <a:pt x="2095" y="193"/>
                  </a:moveTo>
                  <a:lnTo>
                    <a:pt x="2095" y="193"/>
                  </a:lnTo>
                  <a:lnTo>
                    <a:pt x="2071" y="176"/>
                  </a:lnTo>
                  <a:lnTo>
                    <a:pt x="2046" y="159"/>
                  </a:lnTo>
                  <a:lnTo>
                    <a:pt x="2022" y="144"/>
                  </a:lnTo>
                  <a:lnTo>
                    <a:pt x="1998" y="129"/>
                  </a:lnTo>
                  <a:lnTo>
                    <a:pt x="1974" y="115"/>
                  </a:lnTo>
                  <a:lnTo>
                    <a:pt x="1948" y="101"/>
                  </a:lnTo>
                  <a:lnTo>
                    <a:pt x="1900" y="78"/>
                  </a:lnTo>
                  <a:lnTo>
                    <a:pt x="1852" y="57"/>
                  </a:lnTo>
                  <a:lnTo>
                    <a:pt x="1803" y="40"/>
                  </a:lnTo>
                  <a:lnTo>
                    <a:pt x="1757" y="25"/>
                  </a:lnTo>
                  <a:lnTo>
                    <a:pt x="1714" y="14"/>
                  </a:lnTo>
                  <a:lnTo>
                    <a:pt x="1671" y="6"/>
                  </a:lnTo>
                  <a:lnTo>
                    <a:pt x="1632" y="1"/>
                  </a:lnTo>
                  <a:lnTo>
                    <a:pt x="1613" y="0"/>
                  </a:lnTo>
                  <a:lnTo>
                    <a:pt x="1595" y="0"/>
                  </a:lnTo>
                  <a:lnTo>
                    <a:pt x="1580" y="0"/>
                  </a:lnTo>
                  <a:lnTo>
                    <a:pt x="1564" y="1"/>
                  </a:lnTo>
                  <a:lnTo>
                    <a:pt x="1548" y="2"/>
                  </a:lnTo>
                  <a:lnTo>
                    <a:pt x="1535" y="5"/>
                  </a:lnTo>
                  <a:lnTo>
                    <a:pt x="1521" y="8"/>
                  </a:lnTo>
                  <a:lnTo>
                    <a:pt x="1511" y="12"/>
                  </a:lnTo>
                  <a:lnTo>
                    <a:pt x="1500" y="17"/>
                  </a:lnTo>
                  <a:lnTo>
                    <a:pt x="1491" y="23"/>
                  </a:lnTo>
                  <a:lnTo>
                    <a:pt x="1484" y="29"/>
                  </a:lnTo>
                  <a:lnTo>
                    <a:pt x="1477" y="36"/>
                  </a:lnTo>
                  <a:lnTo>
                    <a:pt x="1477" y="36"/>
                  </a:lnTo>
                  <a:lnTo>
                    <a:pt x="1253" y="331"/>
                  </a:lnTo>
                  <a:lnTo>
                    <a:pt x="785" y="948"/>
                  </a:lnTo>
                  <a:lnTo>
                    <a:pt x="532" y="1283"/>
                  </a:lnTo>
                  <a:lnTo>
                    <a:pt x="304" y="1584"/>
                  </a:lnTo>
                  <a:lnTo>
                    <a:pt x="134" y="1813"/>
                  </a:lnTo>
                  <a:lnTo>
                    <a:pt x="78" y="1890"/>
                  </a:lnTo>
                  <a:lnTo>
                    <a:pt x="48" y="1933"/>
                  </a:lnTo>
                  <a:lnTo>
                    <a:pt x="48" y="1933"/>
                  </a:lnTo>
                  <a:lnTo>
                    <a:pt x="43" y="1943"/>
                  </a:lnTo>
                  <a:lnTo>
                    <a:pt x="38" y="1956"/>
                  </a:lnTo>
                  <a:lnTo>
                    <a:pt x="33" y="1974"/>
                  </a:lnTo>
                  <a:lnTo>
                    <a:pt x="30" y="1995"/>
                  </a:lnTo>
                  <a:lnTo>
                    <a:pt x="23" y="2047"/>
                  </a:lnTo>
                  <a:lnTo>
                    <a:pt x="15" y="2110"/>
                  </a:lnTo>
                  <a:lnTo>
                    <a:pt x="10" y="2181"/>
                  </a:lnTo>
                  <a:lnTo>
                    <a:pt x="6" y="2259"/>
                  </a:lnTo>
                  <a:lnTo>
                    <a:pt x="3" y="2340"/>
                  </a:lnTo>
                  <a:lnTo>
                    <a:pt x="1" y="2423"/>
                  </a:lnTo>
                  <a:lnTo>
                    <a:pt x="0" y="2507"/>
                  </a:lnTo>
                  <a:lnTo>
                    <a:pt x="1" y="2588"/>
                  </a:lnTo>
                  <a:lnTo>
                    <a:pt x="3" y="2663"/>
                  </a:lnTo>
                  <a:lnTo>
                    <a:pt x="7" y="2732"/>
                  </a:lnTo>
                  <a:lnTo>
                    <a:pt x="12" y="2790"/>
                  </a:lnTo>
                  <a:lnTo>
                    <a:pt x="15" y="2815"/>
                  </a:lnTo>
                  <a:lnTo>
                    <a:pt x="19" y="2837"/>
                  </a:lnTo>
                  <a:lnTo>
                    <a:pt x="23" y="2856"/>
                  </a:lnTo>
                  <a:lnTo>
                    <a:pt x="27" y="2871"/>
                  </a:lnTo>
                  <a:lnTo>
                    <a:pt x="32" y="2882"/>
                  </a:lnTo>
                  <a:lnTo>
                    <a:pt x="35" y="2885"/>
                  </a:lnTo>
                  <a:lnTo>
                    <a:pt x="37" y="2888"/>
                  </a:lnTo>
                  <a:lnTo>
                    <a:pt x="37" y="2888"/>
                  </a:lnTo>
                  <a:lnTo>
                    <a:pt x="42" y="2891"/>
                  </a:lnTo>
                  <a:lnTo>
                    <a:pt x="47" y="2893"/>
                  </a:lnTo>
                  <a:lnTo>
                    <a:pt x="60" y="2896"/>
                  </a:lnTo>
                  <a:lnTo>
                    <a:pt x="76" y="2897"/>
                  </a:lnTo>
                  <a:lnTo>
                    <a:pt x="95" y="2897"/>
                  </a:lnTo>
                  <a:lnTo>
                    <a:pt x="118" y="2896"/>
                  </a:lnTo>
                  <a:lnTo>
                    <a:pt x="144" y="2893"/>
                  </a:lnTo>
                  <a:lnTo>
                    <a:pt x="171" y="2888"/>
                  </a:lnTo>
                  <a:lnTo>
                    <a:pt x="202" y="2883"/>
                  </a:lnTo>
                  <a:lnTo>
                    <a:pt x="267" y="2868"/>
                  </a:lnTo>
                  <a:lnTo>
                    <a:pt x="340" y="2850"/>
                  </a:lnTo>
                  <a:lnTo>
                    <a:pt x="416" y="2829"/>
                  </a:lnTo>
                  <a:lnTo>
                    <a:pt x="494" y="2804"/>
                  </a:lnTo>
                  <a:lnTo>
                    <a:pt x="573" y="2778"/>
                  </a:lnTo>
                  <a:lnTo>
                    <a:pt x="650" y="2751"/>
                  </a:lnTo>
                  <a:lnTo>
                    <a:pt x="724" y="2722"/>
                  </a:lnTo>
                  <a:lnTo>
                    <a:pt x="793" y="2694"/>
                  </a:lnTo>
                  <a:lnTo>
                    <a:pt x="854" y="2666"/>
                  </a:lnTo>
                  <a:lnTo>
                    <a:pt x="880" y="2653"/>
                  </a:lnTo>
                  <a:lnTo>
                    <a:pt x="904" y="2641"/>
                  </a:lnTo>
                  <a:lnTo>
                    <a:pt x="926" y="2628"/>
                  </a:lnTo>
                  <a:lnTo>
                    <a:pt x="946" y="2617"/>
                  </a:lnTo>
                  <a:lnTo>
                    <a:pt x="960" y="2605"/>
                  </a:lnTo>
                  <a:lnTo>
                    <a:pt x="972" y="2595"/>
                  </a:lnTo>
                  <a:lnTo>
                    <a:pt x="972" y="2595"/>
                  </a:lnTo>
                  <a:lnTo>
                    <a:pt x="987" y="2578"/>
                  </a:lnTo>
                  <a:lnTo>
                    <a:pt x="1007" y="2554"/>
                  </a:lnTo>
                  <a:lnTo>
                    <a:pt x="1064" y="2480"/>
                  </a:lnTo>
                  <a:lnTo>
                    <a:pt x="1142" y="2380"/>
                  </a:lnTo>
                  <a:lnTo>
                    <a:pt x="1234" y="2257"/>
                  </a:lnTo>
                  <a:lnTo>
                    <a:pt x="1454" y="1961"/>
                  </a:lnTo>
                  <a:lnTo>
                    <a:pt x="1697" y="1630"/>
                  </a:lnTo>
                  <a:lnTo>
                    <a:pt x="1939" y="1298"/>
                  </a:lnTo>
                  <a:lnTo>
                    <a:pt x="2153" y="1004"/>
                  </a:lnTo>
                  <a:lnTo>
                    <a:pt x="2311" y="784"/>
                  </a:lnTo>
                  <a:lnTo>
                    <a:pt x="2390" y="675"/>
                  </a:lnTo>
                  <a:lnTo>
                    <a:pt x="2390" y="675"/>
                  </a:lnTo>
                  <a:lnTo>
                    <a:pt x="2395" y="665"/>
                  </a:lnTo>
                  <a:lnTo>
                    <a:pt x="2400" y="654"/>
                  </a:lnTo>
                  <a:lnTo>
                    <a:pt x="2402" y="643"/>
                  </a:lnTo>
                  <a:lnTo>
                    <a:pt x="2403" y="631"/>
                  </a:lnTo>
                  <a:lnTo>
                    <a:pt x="2403" y="618"/>
                  </a:lnTo>
                  <a:lnTo>
                    <a:pt x="2403" y="605"/>
                  </a:lnTo>
                  <a:lnTo>
                    <a:pt x="2401" y="591"/>
                  </a:lnTo>
                  <a:lnTo>
                    <a:pt x="2397" y="577"/>
                  </a:lnTo>
                  <a:lnTo>
                    <a:pt x="2392" y="562"/>
                  </a:lnTo>
                  <a:lnTo>
                    <a:pt x="2386" y="547"/>
                  </a:lnTo>
                  <a:lnTo>
                    <a:pt x="2380" y="531"/>
                  </a:lnTo>
                  <a:lnTo>
                    <a:pt x="2373" y="514"/>
                  </a:lnTo>
                  <a:lnTo>
                    <a:pt x="2355" y="481"/>
                  </a:lnTo>
                  <a:lnTo>
                    <a:pt x="2334" y="447"/>
                  </a:lnTo>
                  <a:lnTo>
                    <a:pt x="2310" y="412"/>
                  </a:lnTo>
                  <a:lnTo>
                    <a:pt x="2284" y="378"/>
                  </a:lnTo>
                  <a:lnTo>
                    <a:pt x="2255" y="345"/>
                  </a:lnTo>
                  <a:lnTo>
                    <a:pt x="2226" y="311"/>
                  </a:lnTo>
                  <a:lnTo>
                    <a:pt x="2193" y="279"/>
                  </a:lnTo>
                  <a:lnTo>
                    <a:pt x="2161" y="248"/>
                  </a:lnTo>
                  <a:lnTo>
                    <a:pt x="2128" y="220"/>
                  </a:lnTo>
                  <a:lnTo>
                    <a:pt x="2095" y="193"/>
                  </a:lnTo>
                  <a:lnTo>
                    <a:pt x="2095" y="193"/>
                  </a:lnTo>
                  <a:close/>
                  <a:moveTo>
                    <a:pt x="1398" y="308"/>
                  </a:moveTo>
                  <a:lnTo>
                    <a:pt x="1398" y="308"/>
                  </a:lnTo>
                  <a:lnTo>
                    <a:pt x="1400" y="306"/>
                  </a:lnTo>
                  <a:lnTo>
                    <a:pt x="1405" y="300"/>
                  </a:lnTo>
                  <a:lnTo>
                    <a:pt x="1415" y="294"/>
                  </a:lnTo>
                  <a:lnTo>
                    <a:pt x="1421" y="290"/>
                  </a:lnTo>
                  <a:lnTo>
                    <a:pt x="1428" y="288"/>
                  </a:lnTo>
                  <a:lnTo>
                    <a:pt x="1437" y="285"/>
                  </a:lnTo>
                  <a:lnTo>
                    <a:pt x="1445" y="284"/>
                  </a:lnTo>
                  <a:lnTo>
                    <a:pt x="1456" y="284"/>
                  </a:lnTo>
                  <a:lnTo>
                    <a:pt x="1468" y="287"/>
                  </a:lnTo>
                  <a:lnTo>
                    <a:pt x="1482" y="290"/>
                  </a:lnTo>
                  <a:lnTo>
                    <a:pt x="1495" y="295"/>
                  </a:lnTo>
                  <a:lnTo>
                    <a:pt x="1511" y="303"/>
                  </a:lnTo>
                  <a:lnTo>
                    <a:pt x="1528" y="313"/>
                  </a:lnTo>
                  <a:lnTo>
                    <a:pt x="1528" y="313"/>
                  </a:lnTo>
                  <a:lnTo>
                    <a:pt x="1542" y="325"/>
                  </a:lnTo>
                  <a:lnTo>
                    <a:pt x="1555" y="336"/>
                  </a:lnTo>
                  <a:lnTo>
                    <a:pt x="1565" y="347"/>
                  </a:lnTo>
                  <a:lnTo>
                    <a:pt x="1573" y="357"/>
                  </a:lnTo>
                  <a:lnTo>
                    <a:pt x="1580" y="368"/>
                  </a:lnTo>
                  <a:lnTo>
                    <a:pt x="1583" y="376"/>
                  </a:lnTo>
                  <a:lnTo>
                    <a:pt x="1586" y="386"/>
                  </a:lnTo>
                  <a:lnTo>
                    <a:pt x="1587" y="394"/>
                  </a:lnTo>
                  <a:lnTo>
                    <a:pt x="1588" y="401"/>
                  </a:lnTo>
                  <a:lnTo>
                    <a:pt x="1587" y="409"/>
                  </a:lnTo>
                  <a:lnTo>
                    <a:pt x="1584" y="420"/>
                  </a:lnTo>
                  <a:lnTo>
                    <a:pt x="1582" y="427"/>
                  </a:lnTo>
                  <a:lnTo>
                    <a:pt x="1581" y="429"/>
                  </a:lnTo>
                  <a:lnTo>
                    <a:pt x="337" y="2076"/>
                  </a:lnTo>
                  <a:lnTo>
                    <a:pt x="337" y="1902"/>
                  </a:lnTo>
                  <a:lnTo>
                    <a:pt x="239" y="1865"/>
                  </a:lnTo>
                  <a:lnTo>
                    <a:pt x="1398" y="308"/>
                  </a:lnTo>
                  <a:close/>
                  <a:moveTo>
                    <a:pt x="475" y="2657"/>
                  </a:moveTo>
                  <a:lnTo>
                    <a:pt x="475" y="2657"/>
                  </a:lnTo>
                  <a:lnTo>
                    <a:pt x="473" y="2660"/>
                  </a:lnTo>
                  <a:lnTo>
                    <a:pt x="469" y="2664"/>
                  </a:lnTo>
                  <a:lnTo>
                    <a:pt x="456" y="2671"/>
                  </a:lnTo>
                  <a:lnTo>
                    <a:pt x="439" y="2680"/>
                  </a:lnTo>
                  <a:lnTo>
                    <a:pt x="417" y="2689"/>
                  </a:lnTo>
                  <a:lnTo>
                    <a:pt x="364" y="2709"/>
                  </a:lnTo>
                  <a:lnTo>
                    <a:pt x="304" y="2729"/>
                  </a:lnTo>
                  <a:lnTo>
                    <a:pt x="244" y="2746"/>
                  </a:lnTo>
                  <a:lnTo>
                    <a:pt x="216" y="2754"/>
                  </a:lnTo>
                  <a:lnTo>
                    <a:pt x="191" y="2760"/>
                  </a:lnTo>
                  <a:lnTo>
                    <a:pt x="169" y="2764"/>
                  </a:lnTo>
                  <a:lnTo>
                    <a:pt x="152" y="2767"/>
                  </a:lnTo>
                  <a:lnTo>
                    <a:pt x="140" y="2767"/>
                  </a:lnTo>
                  <a:lnTo>
                    <a:pt x="135" y="2766"/>
                  </a:lnTo>
                  <a:lnTo>
                    <a:pt x="134" y="2763"/>
                  </a:lnTo>
                  <a:lnTo>
                    <a:pt x="134" y="2763"/>
                  </a:lnTo>
                  <a:lnTo>
                    <a:pt x="130" y="2756"/>
                  </a:lnTo>
                  <a:lnTo>
                    <a:pt x="129" y="2743"/>
                  </a:lnTo>
                  <a:lnTo>
                    <a:pt x="127" y="2723"/>
                  </a:lnTo>
                  <a:lnTo>
                    <a:pt x="127" y="2700"/>
                  </a:lnTo>
                  <a:lnTo>
                    <a:pt x="125" y="2643"/>
                  </a:lnTo>
                  <a:lnTo>
                    <a:pt x="127" y="2581"/>
                  </a:lnTo>
                  <a:lnTo>
                    <a:pt x="129" y="2518"/>
                  </a:lnTo>
                  <a:lnTo>
                    <a:pt x="133" y="2462"/>
                  </a:lnTo>
                  <a:lnTo>
                    <a:pt x="135" y="2440"/>
                  </a:lnTo>
                  <a:lnTo>
                    <a:pt x="137" y="2423"/>
                  </a:lnTo>
                  <a:lnTo>
                    <a:pt x="140" y="2411"/>
                  </a:lnTo>
                  <a:lnTo>
                    <a:pt x="141" y="2407"/>
                  </a:lnTo>
                  <a:lnTo>
                    <a:pt x="142" y="2406"/>
                  </a:lnTo>
                  <a:lnTo>
                    <a:pt x="142" y="2406"/>
                  </a:lnTo>
                  <a:lnTo>
                    <a:pt x="151" y="2404"/>
                  </a:lnTo>
                  <a:lnTo>
                    <a:pt x="159" y="2403"/>
                  </a:lnTo>
                  <a:lnTo>
                    <a:pt x="170" y="2403"/>
                  </a:lnTo>
                  <a:lnTo>
                    <a:pt x="181" y="2404"/>
                  </a:lnTo>
                  <a:lnTo>
                    <a:pt x="193" y="2406"/>
                  </a:lnTo>
                  <a:lnTo>
                    <a:pt x="206" y="2409"/>
                  </a:lnTo>
                  <a:lnTo>
                    <a:pt x="234" y="2418"/>
                  </a:lnTo>
                  <a:lnTo>
                    <a:pt x="263" y="2432"/>
                  </a:lnTo>
                  <a:lnTo>
                    <a:pt x="295" y="2447"/>
                  </a:lnTo>
                  <a:lnTo>
                    <a:pt x="325" y="2466"/>
                  </a:lnTo>
                  <a:lnTo>
                    <a:pt x="355" y="2486"/>
                  </a:lnTo>
                  <a:lnTo>
                    <a:pt x="384" y="2508"/>
                  </a:lnTo>
                  <a:lnTo>
                    <a:pt x="411" y="2531"/>
                  </a:lnTo>
                  <a:lnTo>
                    <a:pt x="435" y="2554"/>
                  </a:lnTo>
                  <a:lnTo>
                    <a:pt x="445" y="2565"/>
                  </a:lnTo>
                  <a:lnTo>
                    <a:pt x="454" y="2577"/>
                  </a:lnTo>
                  <a:lnTo>
                    <a:pt x="462" y="2588"/>
                  </a:lnTo>
                  <a:lnTo>
                    <a:pt x="469" y="2599"/>
                  </a:lnTo>
                  <a:lnTo>
                    <a:pt x="474" y="2610"/>
                  </a:lnTo>
                  <a:lnTo>
                    <a:pt x="477" y="2620"/>
                  </a:lnTo>
                  <a:lnTo>
                    <a:pt x="480" y="2630"/>
                  </a:lnTo>
                  <a:lnTo>
                    <a:pt x="480" y="2640"/>
                  </a:lnTo>
                  <a:lnTo>
                    <a:pt x="479" y="2649"/>
                  </a:lnTo>
                  <a:lnTo>
                    <a:pt x="475" y="2657"/>
                  </a:lnTo>
                  <a:lnTo>
                    <a:pt x="475" y="2657"/>
                  </a:lnTo>
                  <a:close/>
                  <a:moveTo>
                    <a:pt x="490" y="2117"/>
                  </a:moveTo>
                  <a:lnTo>
                    <a:pt x="1692" y="455"/>
                  </a:lnTo>
                  <a:lnTo>
                    <a:pt x="1692" y="455"/>
                  </a:lnTo>
                  <a:lnTo>
                    <a:pt x="1694" y="453"/>
                  </a:lnTo>
                  <a:lnTo>
                    <a:pt x="1699" y="450"/>
                  </a:lnTo>
                  <a:lnTo>
                    <a:pt x="1708" y="446"/>
                  </a:lnTo>
                  <a:lnTo>
                    <a:pt x="1713" y="444"/>
                  </a:lnTo>
                  <a:lnTo>
                    <a:pt x="1720" y="443"/>
                  </a:lnTo>
                  <a:lnTo>
                    <a:pt x="1728" y="443"/>
                  </a:lnTo>
                  <a:lnTo>
                    <a:pt x="1737" y="444"/>
                  </a:lnTo>
                  <a:lnTo>
                    <a:pt x="1748" y="445"/>
                  </a:lnTo>
                  <a:lnTo>
                    <a:pt x="1760" y="449"/>
                  </a:lnTo>
                  <a:lnTo>
                    <a:pt x="1773" y="452"/>
                  </a:lnTo>
                  <a:lnTo>
                    <a:pt x="1788" y="460"/>
                  </a:lnTo>
                  <a:lnTo>
                    <a:pt x="1803" y="468"/>
                  </a:lnTo>
                  <a:lnTo>
                    <a:pt x="1821" y="478"/>
                  </a:lnTo>
                  <a:lnTo>
                    <a:pt x="1821" y="478"/>
                  </a:lnTo>
                  <a:lnTo>
                    <a:pt x="1836" y="489"/>
                  </a:lnTo>
                  <a:lnTo>
                    <a:pt x="1849" y="499"/>
                  </a:lnTo>
                  <a:lnTo>
                    <a:pt x="1859" y="509"/>
                  </a:lnTo>
                  <a:lnTo>
                    <a:pt x="1867" y="520"/>
                  </a:lnTo>
                  <a:lnTo>
                    <a:pt x="1875" y="530"/>
                  </a:lnTo>
                  <a:lnTo>
                    <a:pt x="1880" y="539"/>
                  </a:lnTo>
                  <a:lnTo>
                    <a:pt x="1883" y="549"/>
                  </a:lnTo>
                  <a:lnTo>
                    <a:pt x="1887" y="558"/>
                  </a:lnTo>
                  <a:lnTo>
                    <a:pt x="1888" y="565"/>
                  </a:lnTo>
                  <a:lnTo>
                    <a:pt x="1888" y="572"/>
                  </a:lnTo>
                  <a:lnTo>
                    <a:pt x="1888" y="584"/>
                  </a:lnTo>
                  <a:lnTo>
                    <a:pt x="1887" y="591"/>
                  </a:lnTo>
                  <a:lnTo>
                    <a:pt x="1886" y="594"/>
                  </a:lnTo>
                  <a:lnTo>
                    <a:pt x="624" y="2291"/>
                  </a:lnTo>
                  <a:lnTo>
                    <a:pt x="624" y="2094"/>
                  </a:lnTo>
                  <a:lnTo>
                    <a:pt x="490" y="2117"/>
                  </a:lnTo>
                  <a:close/>
                  <a:moveTo>
                    <a:pt x="2117" y="835"/>
                  </a:moveTo>
                  <a:lnTo>
                    <a:pt x="937" y="2462"/>
                  </a:lnTo>
                  <a:lnTo>
                    <a:pt x="902" y="2386"/>
                  </a:lnTo>
                  <a:lnTo>
                    <a:pt x="750" y="2359"/>
                  </a:lnTo>
                  <a:lnTo>
                    <a:pt x="1973" y="677"/>
                  </a:lnTo>
                  <a:lnTo>
                    <a:pt x="1973" y="677"/>
                  </a:lnTo>
                  <a:lnTo>
                    <a:pt x="1975" y="676"/>
                  </a:lnTo>
                  <a:lnTo>
                    <a:pt x="1979" y="672"/>
                  </a:lnTo>
                  <a:lnTo>
                    <a:pt x="1987" y="669"/>
                  </a:lnTo>
                  <a:lnTo>
                    <a:pt x="1992" y="669"/>
                  </a:lnTo>
                  <a:lnTo>
                    <a:pt x="1998" y="668"/>
                  </a:lnTo>
                  <a:lnTo>
                    <a:pt x="2005" y="669"/>
                  </a:lnTo>
                  <a:lnTo>
                    <a:pt x="2014" y="670"/>
                  </a:lnTo>
                  <a:lnTo>
                    <a:pt x="2022" y="674"/>
                  </a:lnTo>
                  <a:lnTo>
                    <a:pt x="2032" y="679"/>
                  </a:lnTo>
                  <a:lnTo>
                    <a:pt x="2043" y="685"/>
                  </a:lnTo>
                  <a:lnTo>
                    <a:pt x="2055" y="693"/>
                  </a:lnTo>
                  <a:lnTo>
                    <a:pt x="2067" y="704"/>
                  </a:lnTo>
                  <a:lnTo>
                    <a:pt x="2080" y="718"/>
                  </a:lnTo>
                  <a:lnTo>
                    <a:pt x="2080" y="718"/>
                  </a:lnTo>
                  <a:lnTo>
                    <a:pt x="2091" y="731"/>
                  </a:lnTo>
                  <a:lnTo>
                    <a:pt x="2101" y="741"/>
                  </a:lnTo>
                  <a:lnTo>
                    <a:pt x="2108" y="754"/>
                  </a:lnTo>
                  <a:lnTo>
                    <a:pt x="2113" y="764"/>
                  </a:lnTo>
                  <a:lnTo>
                    <a:pt x="2118" y="774"/>
                  </a:lnTo>
                  <a:lnTo>
                    <a:pt x="2120" y="784"/>
                  </a:lnTo>
                  <a:lnTo>
                    <a:pt x="2121" y="793"/>
                  </a:lnTo>
                  <a:lnTo>
                    <a:pt x="2123" y="801"/>
                  </a:lnTo>
                  <a:lnTo>
                    <a:pt x="2121" y="815"/>
                  </a:lnTo>
                  <a:lnTo>
                    <a:pt x="2120" y="826"/>
                  </a:lnTo>
                  <a:lnTo>
                    <a:pt x="2118" y="832"/>
                  </a:lnTo>
                  <a:lnTo>
                    <a:pt x="2117" y="835"/>
                  </a:lnTo>
                  <a:lnTo>
                    <a:pt x="2117" y="83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18763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1387790" y="486810"/>
            <a:ext cx="7551055" cy="3631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100" spc="-150" dirty="0" smtClean="0">
                <a:solidFill>
                  <a:schemeClr val="accent1">
                    <a:lumMod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쇄신과제 ⑦ </a:t>
            </a:r>
            <a:r>
              <a:rPr lang="ko-KR" altLang="en-US" sz="21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기후변화 </a:t>
            </a:r>
            <a:r>
              <a:rPr lang="en-US" altLang="ko-KR" sz="21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1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생물다양성협약 </a:t>
            </a:r>
            <a:r>
              <a:rPr lang="en-US" altLang="ko-KR" sz="21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1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에볼라 </a:t>
            </a:r>
            <a:r>
              <a:rPr lang="ko-KR" altLang="en-US" sz="21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「대책」 강화</a:t>
            </a:r>
            <a:endParaRPr lang="en-US" sz="2100" spc="-15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56666" y="1083928"/>
            <a:ext cx="8687333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기후변화로 인한 질병 매년 지속 증가 추세  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선제적 예방정책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시급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복지분야 추가</a:t>
            </a:r>
            <a:endParaRPr lang="en-US" altLang="ko-KR" sz="1600" b="1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만성질환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알레르기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진드기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모기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수인성 매개 </a:t>
            </a: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감염병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증가  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전담부서 구축강화 시급</a:t>
            </a:r>
            <a:endParaRPr lang="en-US" altLang="ko-KR" sz="1600" b="1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「나고야의정서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2010.10.30)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」 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12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일 자동 발효   복지부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식약처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토종자원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제약 기반 구축 강화</a:t>
            </a:r>
            <a:endParaRPr lang="en-US" altLang="ko-KR" sz="16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지자체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공동사업 지양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토종유전자원의 국가주도 연구사업」 가시적 추진 확대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에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볼라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‘05)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아프리카 한정 유행질병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‘14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년 글로벌 위협 질병  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유사시 대비한 대책 수립</a:t>
            </a:r>
            <a:endParaRPr lang="ko-KR" altLang="en-US" sz="1600" b="1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24" name="오른쪽 화살표 23"/>
          <p:cNvSpPr/>
          <p:nvPr/>
        </p:nvSpPr>
        <p:spPr>
          <a:xfrm>
            <a:off x="6132850" y="162880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5076056" y="126876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15" name="Group 50"/>
          <p:cNvGrpSpPr/>
          <p:nvPr/>
        </p:nvGrpSpPr>
        <p:grpSpPr>
          <a:xfrm>
            <a:off x="-1122" y="-81403"/>
            <a:ext cx="1113136" cy="1236229"/>
            <a:chOff x="-9097" y="-96310"/>
            <a:chExt cx="974935" cy="1025474"/>
          </a:xfrm>
        </p:grpSpPr>
        <p:sp>
          <p:nvSpPr>
            <p:cNvPr id="16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 rot="18886281">
              <a:off x="58852" y="187690"/>
              <a:ext cx="770174" cy="20217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7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9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9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18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그림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-8274" y="724510"/>
            <a:ext cx="252257" cy="120873"/>
          </a:xfrm>
          <a:prstGeom prst="rect">
            <a:avLst/>
          </a:prstGeom>
        </p:spPr>
      </p:pic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5" name="TextBox 24"/>
          <p:cNvSpPr txBox="1"/>
          <p:nvPr/>
        </p:nvSpPr>
        <p:spPr>
          <a:xfrm>
            <a:off x="682304" y="6072542"/>
            <a:ext cx="8461695" cy="4626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보건복지분야 선진국가 조기 이행 위한 </a:t>
            </a:r>
            <a:r>
              <a:rPr lang="ko-KR" altLang="en-US" sz="19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범부처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차원의 적극투자와 연구강화</a:t>
            </a:r>
            <a:endParaRPr lang="ko-KR" altLang="en-US" sz="19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9" name="오른쪽 화살표 28"/>
          <p:cNvSpPr/>
          <p:nvPr/>
        </p:nvSpPr>
        <p:spPr>
          <a:xfrm>
            <a:off x="287100" y="6182007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6" name="오른쪽 화살표 25"/>
          <p:cNvSpPr/>
          <p:nvPr/>
        </p:nvSpPr>
        <p:spPr>
          <a:xfrm>
            <a:off x="6242624" y="270892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3639" y="3012609"/>
            <a:ext cx="3738422" cy="2966664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1514" y="3537099"/>
            <a:ext cx="2307604" cy="2474906"/>
          </a:xfrm>
          <a:prstGeom prst="rect">
            <a:avLst/>
          </a:prstGeom>
        </p:spPr>
      </p:pic>
      <p:pic>
        <p:nvPicPr>
          <p:cNvPr id="8" name="그림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401" y="3425904"/>
            <a:ext cx="1639388" cy="2588738"/>
          </a:xfrm>
          <a:prstGeom prst="rect">
            <a:avLst/>
          </a:prstGeom>
        </p:spPr>
      </p:pic>
      <p:grpSp>
        <p:nvGrpSpPr>
          <p:cNvPr id="21" name="그룹 20"/>
          <p:cNvGrpSpPr/>
          <p:nvPr/>
        </p:nvGrpSpPr>
        <p:grpSpPr>
          <a:xfrm>
            <a:off x="1053286" y="436492"/>
            <a:ext cx="433997" cy="433997"/>
            <a:chOff x="1053286" y="515021"/>
            <a:chExt cx="433997" cy="433997"/>
          </a:xfrm>
        </p:grpSpPr>
        <p:sp>
          <p:nvSpPr>
            <p:cNvPr id="22" name="Oval 45"/>
            <p:cNvSpPr/>
            <p:nvPr/>
          </p:nvSpPr>
          <p:spPr>
            <a:xfrm>
              <a:off x="1053286" y="515021"/>
              <a:ext cx="433997" cy="433997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Freeform 13"/>
            <p:cNvSpPr>
              <a:spLocks noEditPoints="1"/>
            </p:cNvSpPr>
            <p:nvPr/>
          </p:nvSpPr>
          <p:spPr bwMode="auto">
            <a:xfrm rot="10585247" flipV="1">
              <a:off x="1160800" y="600128"/>
              <a:ext cx="218969" cy="263783"/>
            </a:xfrm>
            <a:custGeom>
              <a:avLst/>
              <a:gdLst>
                <a:gd name="T0" fmla="*/ 2022 w 2403"/>
                <a:gd name="T1" fmla="*/ 144 h 2897"/>
                <a:gd name="T2" fmla="*/ 1852 w 2403"/>
                <a:gd name="T3" fmla="*/ 57 h 2897"/>
                <a:gd name="T4" fmla="*/ 1632 w 2403"/>
                <a:gd name="T5" fmla="*/ 1 h 2897"/>
                <a:gd name="T6" fmla="*/ 1548 w 2403"/>
                <a:gd name="T7" fmla="*/ 2 h 2897"/>
                <a:gd name="T8" fmla="*/ 1491 w 2403"/>
                <a:gd name="T9" fmla="*/ 23 h 2897"/>
                <a:gd name="T10" fmla="*/ 785 w 2403"/>
                <a:gd name="T11" fmla="*/ 948 h 2897"/>
                <a:gd name="T12" fmla="*/ 48 w 2403"/>
                <a:gd name="T13" fmla="*/ 1933 h 2897"/>
                <a:gd name="T14" fmla="*/ 30 w 2403"/>
                <a:gd name="T15" fmla="*/ 1995 h 2897"/>
                <a:gd name="T16" fmla="*/ 3 w 2403"/>
                <a:gd name="T17" fmla="*/ 2340 h 2897"/>
                <a:gd name="T18" fmla="*/ 7 w 2403"/>
                <a:gd name="T19" fmla="*/ 2732 h 2897"/>
                <a:gd name="T20" fmla="*/ 27 w 2403"/>
                <a:gd name="T21" fmla="*/ 2871 h 2897"/>
                <a:gd name="T22" fmla="*/ 42 w 2403"/>
                <a:gd name="T23" fmla="*/ 2891 h 2897"/>
                <a:gd name="T24" fmla="*/ 118 w 2403"/>
                <a:gd name="T25" fmla="*/ 2896 h 2897"/>
                <a:gd name="T26" fmla="*/ 340 w 2403"/>
                <a:gd name="T27" fmla="*/ 2850 h 2897"/>
                <a:gd name="T28" fmla="*/ 724 w 2403"/>
                <a:gd name="T29" fmla="*/ 2722 h 2897"/>
                <a:gd name="T30" fmla="*/ 926 w 2403"/>
                <a:gd name="T31" fmla="*/ 2628 h 2897"/>
                <a:gd name="T32" fmla="*/ 987 w 2403"/>
                <a:gd name="T33" fmla="*/ 2578 h 2897"/>
                <a:gd name="T34" fmla="*/ 1454 w 2403"/>
                <a:gd name="T35" fmla="*/ 1961 h 2897"/>
                <a:gd name="T36" fmla="*/ 2390 w 2403"/>
                <a:gd name="T37" fmla="*/ 675 h 2897"/>
                <a:gd name="T38" fmla="*/ 2403 w 2403"/>
                <a:gd name="T39" fmla="*/ 631 h 2897"/>
                <a:gd name="T40" fmla="*/ 2392 w 2403"/>
                <a:gd name="T41" fmla="*/ 562 h 2897"/>
                <a:gd name="T42" fmla="*/ 2334 w 2403"/>
                <a:gd name="T43" fmla="*/ 447 h 2897"/>
                <a:gd name="T44" fmla="*/ 2193 w 2403"/>
                <a:gd name="T45" fmla="*/ 279 h 2897"/>
                <a:gd name="T46" fmla="*/ 1398 w 2403"/>
                <a:gd name="T47" fmla="*/ 308 h 2897"/>
                <a:gd name="T48" fmla="*/ 1421 w 2403"/>
                <a:gd name="T49" fmla="*/ 290 h 2897"/>
                <a:gd name="T50" fmla="*/ 1468 w 2403"/>
                <a:gd name="T51" fmla="*/ 287 h 2897"/>
                <a:gd name="T52" fmla="*/ 1528 w 2403"/>
                <a:gd name="T53" fmla="*/ 313 h 2897"/>
                <a:gd name="T54" fmla="*/ 1580 w 2403"/>
                <a:gd name="T55" fmla="*/ 368 h 2897"/>
                <a:gd name="T56" fmla="*/ 1587 w 2403"/>
                <a:gd name="T57" fmla="*/ 409 h 2897"/>
                <a:gd name="T58" fmla="*/ 337 w 2403"/>
                <a:gd name="T59" fmla="*/ 1902 h 2897"/>
                <a:gd name="T60" fmla="*/ 473 w 2403"/>
                <a:gd name="T61" fmla="*/ 2660 h 2897"/>
                <a:gd name="T62" fmla="*/ 364 w 2403"/>
                <a:gd name="T63" fmla="*/ 2709 h 2897"/>
                <a:gd name="T64" fmla="*/ 169 w 2403"/>
                <a:gd name="T65" fmla="*/ 2764 h 2897"/>
                <a:gd name="T66" fmla="*/ 134 w 2403"/>
                <a:gd name="T67" fmla="*/ 2763 h 2897"/>
                <a:gd name="T68" fmla="*/ 125 w 2403"/>
                <a:gd name="T69" fmla="*/ 2643 h 2897"/>
                <a:gd name="T70" fmla="*/ 137 w 2403"/>
                <a:gd name="T71" fmla="*/ 2423 h 2897"/>
                <a:gd name="T72" fmla="*/ 151 w 2403"/>
                <a:gd name="T73" fmla="*/ 2404 h 2897"/>
                <a:gd name="T74" fmla="*/ 206 w 2403"/>
                <a:gd name="T75" fmla="*/ 2409 h 2897"/>
                <a:gd name="T76" fmla="*/ 355 w 2403"/>
                <a:gd name="T77" fmla="*/ 2486 h 2897"/>
                <a:gd name="T78" fmla="*/ 454 w 2403"/>
                <a:gd name="T79" fmla="*/ 2577 h 2897"/>
                <a:gd name="T80" fmla="*/ 480 w 2403"/>
                <a:gd name="T81" fmla="*/ 2630 h 2897"/>
                <a:gd name="T82" fmla="*/ 490 w 2403"/>
                <a:gd name="T83" fmla="*/ 2117 h 2897"/>
                <a:gd name="T84" fmla="*/ 1708 w 2403"/>
                <a:gd name="T85" fmla="*/ 446 h 2897"/>
                <a:gd name="T86" fmla="*/ 1748 w 2403"/>
                <a:gd name="T87" fmla="*/ 445 h 2897"/>
                <a:gd name="T88" fmla="*/ 1821 w 2403"/>
                <a:gd name="T89" fmla="*/ 478 h 2897"/>
                <a:gd name="T90" fmla="*/ 1867 w 2403"/>
                <a:gd name="T91" fmla="*/ 520 h 2897"/>
                <a:gd name="T92" fmla="*/ 1888 w 2403"/>
                <a:gd name="T93" fmla="*/ 565 h 2897"/>
                <a:gd name="T94" fmla="*/ 624 w 2403"/>
                <a:gd name="T95" fmla="*/ 2291 h 2897"/>
                <a:gd name="T96" fmla="*/ 902 w 2403"/>
                <a:gd name="T97" fmla="*/ 2386 h 2897"/>
                <a:gd name="T98" fmla="*/ 1979 w 2403"/>
                <a:gd name="T99" fmla="*/ 672 h 2897"/>
                <a:gd name="T100" fmla="*/ 2014 w 2403"/>
                <a:gd name="T101" fmla="*/ 670 h 2897"/>
                <a:gd name="T102" fmla="*/ 2067 w 2403"/>
                <a:gd name="T103" fmla="*/ 704 h 2897"/>
                <a:gd name="T104" fmla="*/ 2108 w 2403"/>
                <a:gd name="T105" fmla="*/ 754 h 2897"/>
                <a:gd name="T106" fmla="*/ 2123 w 2403"/>
                <a:gd name="T107" fmla="*/ 801 h 2897"/>
                <a:gd name="T108" fmla="*/ 2117 w 2403"/>
                <a:gd name="T109" fmla="*/ 835 h 2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403" h="2897">
                  <a:moveTo>
                    <a:pt x="2095" y="193"/>
                  </a:moveTo>
                  <a:lnTo>
                    <a:pt x="2095" y="193"/>
                  </a:lnTo>
                  <a:lnTo>
                    <a:pt x="2071" y="176"/>
                  </a:lnTo>
                  <a:lnTo>
                    <a:pt x="2046" y="159"/>
                  </a:lnTo>
                  <a:lnTo>
                    <a:pt x="2022" y="144"/>
                  </a:lnTo>
                  <a:lnTo>
                    <a:pt x="1998" y="129"/>
                  </a:lnTo>
                  <a:lnTo>
                    <a:pt x="1974" y="115"/>
                  </a:lnTo>
                  <a:lnTo>
                    <a:pt x="1948" y="101"/>
                  </a:lnTo>
                  <a:lnTo>
                    <a:pt x="1900" y="78"/>
                  </a:lnTo>
                  <a:lnTo>
                    <a:pt x="1852" y="57"/>
                  </a:lnTo>
                  <a:lnTo>
                    <a:pt x="1803" y="40"/>
                  </a:lnTo>
                  <a:lnTo>
                    <a:pt x="1757" y="25"/>
                  </a:lnTo>
                  <a:lnTo>
                    <a:pt x="1714" y="14"/>
                  </a:lnTo>
                  <a:lnTo>
                    <a:pt x="1671" y="6"/>
                  </a:lnTo>
                  <a:lnTo>
                    <a:pt x="1632" y="1"/>
                  </a:lnTo>
                  <a:lnTo>
                    <a:pt x="1613" y="0"/>
                  </a:lnTo>
                  <a:lnTo>
                    <a:pt x="1595" y="0"/>
                  </a:lnTo>
                  <a:lnTo>
                    <a:pt x="1580" y="0"/>
                  </a:lnTo>
                  <a:lnTo>
                    <a:pt x="1564" y="1"/>
                  </a:lnTo>
                  <a:lnTo>
                    <a:pt x="1548" y="2"/>
                  </a:lnTo>
                  <a:lnTo>
                    <a:pt x="1535" y="5"/>
                  </a:lnTo>
                  <a:lnTo>
                    <a:pt x="1521" y="8"/>
                  </a:lnTo>
                  <a:lnTo>
                    <a:pt x="1511" y="12"/>
                  </a:lnTo>
                  <a:lnTo>
                    <a:pt x="1500" y="17"/>
                  </a:lnTo>
                  <a:lnTo>
                    <a:pt x="1491" y="23"/>
                  </a:lnTo>
                  <a:lnTo>
                    <a:pt x="1484" y="29"/>
                  </a:lnTo>
                  <a:lnTo>
                    <a:pt x="1477" y="36"/>
                  </a:lnTo>
                  <a:lnTo>
                    <a:pt x="1477" y="36"/>
                  </a:lnTo>
                  <a:lnTo>
                    <a:pt x="1253" y="331"/>
                  </a:lnTo>
                  <a:lnTo>
                    <a:pt x="785" y="948"/>
                  </a:lnTo>
                  <a:lnTo>
                    <a:pt x="532" y="1283"/>
                  </a:lnTo>
                  <a:lnTo>
                    <a:pt x="304" y="1584"/>
                  </a:lnTo>
                  <a:lnTo>
                    <a:pt x="134" y="1813"/>
                  </a:lnTo>
                  <a:lnTo>
                    <a:pt x="78" y="1890"/>
                  </a:lnTo>
                  <a:lnTo>
                    <a:pt x="48" y="1933"/>
                  </a:lnTo>
                  <a:lnTo>
                    <a:pt x="48" y="1933"/>
                  </a:lnTo>
                  <a:lnTo>
                    <a:pt x="43" y="1943"/>
                  </a:lnTo>
                  <a:lnTo>
                    <a:pt x="38" y="1956"/>
                  </a:lnTo>
                  <a:lnTo>
                    <a:pt x="33" y="1974"/>
                  </a:lnTo>
                  <a:lnTo>
                    <a:pt x="30" y="1995"/>
                  </a:lnTo>
                  <a:lnTo>
                    <a:pt x="23" y="2047"/>
                  </a:lnTo>
                  <a:lnTo>
                    <a:pt x="15" y="2110"/>
                  </a:lnTo>
                  <a:lnTo>
                    <a:pt x="10" y="2181"/>
                  </a:lnTo>
                  <a:lnTo>
                    <a:pt x="6" y="2259"/>
                  </a:lnTo>
                  <a:lnTo>
                    <a:pt x="3" y="2340"/>
                  </a:lnTo>
                  <a:lnTo>
                    <a:pt x="1" y="2423"/>
                  </a:lnTo>
                  <a:lnTo>
                    <a:pt x="0" y="2507"/>
                  </a:lnTo>
                  <a:lnTo>
                    <a:pt x="1" y="2588"/>
                  </a:lnTo>
                  <a:lnTo>
                    <a:pt x="3" y="2663"/>
                  </a:lnTo>
                  <a:lnTo>
                    <a:pt x="7" y="2732"/>
                  </a:lnTo>
                  <a:lnTo>
                    <a:pt x="12" y="2790"/>
                  </a:lnTo>
                  <a:lnTo>
                    <a:pt x="15" y="2815"/>
                  </a:lnTo>
                  <a:lnTo>
                    <a:pt x="19" y="2837"/>
                  </a:lnTo>
                  <a:lnTo>
                    <a:pt x="23" y="2856"/>
                  </a:lnTo>
                  <a:lnTo>
                    <a:pt x="27" y="2871"/>
                  </a:lnTo>
                  <a:lnTo>
                    <a:pt x="32" y="2882"/>
                  </a:lnTo>
                  <a:lnTo>
                    <a:pt x="35" y="2885"/>
                  </a:lnTo>
                  <a:lnTo>
                    <a:pt x="37" y="2888"/>
                  </a:lnTo>
                  <a:lnTo>
                    <a:pt x="37" y="2888"/>
                  </a:lnTo>
                  <a:lnTo>
                    <a:pt x="42" y="2891"/>
                  </a:lnTo>
                  <a:lnTo>
                    <a:pt x="47" y="2893"/>
                  </a:lnTo>
                  <a:lnTo>
                    <a:pt x="60" y="2896"/>
                  </a:lnTo>
                  <a:lnTo>
                    <a:pt x="76" y="2897"/>
                  </a:lnTo>
                  <a:lnTo>
                    <a:pt x="95" y="2897"/>
                  </a:lnTo>
                  <a:lnTo>
                    <a:pt x="118" y="2896"/>
                  </a:lnTo>
                  <a:lnTo>
                    <a:pt x="144" y="2893"/>
                  </a:lnTo>
                  <a:lnTo>
                    <a:pt x="171" y="2888"/>
                  </a:lnTo>
                  <a:lnTo>
                    <a:pt x="202" y="2883"/>
                  </a:lnTo>
                  <a:lnTo>
                    <a:pt x="267" y="2868"/>
                  </a:lnTo>
                  <a:lnTo>
                    <a:pt x="340" y="2850"/>
                  </a:lnTo>
                  <a:lnTo>
                    <a:pt x="416" y="2829"/>
                  </a:lnTo>
                  <a:lnTo>
                    <a:pt x="494" y="2804"/>
                  </a:lnTo>
                  <a:lnTo>
                    <a:pt x="573" y="2778"/>
                  </a:lnTo>
                  <a:lnTo>
                    <a:pt x="650" y="2751"/>
                  </a:lnTo>
                  <a:lnTo>
                    <a:pt x="724" y="2722"/>
                  </a:lnTo>
                  <a:lnTo>
                    <a:pt x="793" y="2694"/>
                  </a:lnTo>
                  <a:lnTo>
                    <a:pt x="854" y="2666"/>
                  </a:lnTo>
                  <a:lnTo>
                    <a:pt x="880" y="2653"/>
                  </a:lnTo>
                  <a:lnTo>
                    <a:pt x="904" y="2641"/>
                  </a:lnTo>
                  <a:lnTo>
                    <a:pt x="926" y="2628"/>
                  </a:lnTo>
                  <a:lnTo>
                    <a:pt x="946" y="2617"/>
                  </a:lnTo>
                  <a:lnTo>
                    <a:pt x="960" y="2605"/>
                  </a:lnTo>
                  <a:lnTo>
                    <a:pt x="972" y="2595"/>
                  </a:lnTo>
                  <a:lnTo>
                    <a:pt x="972" y="2595"/>
                  </a:lnTo>
                  <a:lnTo>
                    <a:pt x="987" y="2578"/>
                  </a:lnTo>
                  <a:lnTo>
                    <a:pt x="1007" y="2554"/>
                  </a:lnTo>
                  <a:lnTo>
                    <a:pt x="1064" y="2480"/>
                  </a:lnTo>
                  <a:lnTo>
                    <a:pt x="1142" y="2380"/>
                  </a:lnTo>
                  <a:lnTo>
                    <a:pt x="1234" y="2257"/>
                  </a:lnTo>
                  <a:lnTo>
                    <a:pt x="1454" y="1961"/>
                  </a:lnTo>
                  <a:lnTo>
                    <a:pt x="1697" y="1630"/>
                  </a:lnTo>
                  <a:lnTo>
                    <a:pt x="1939" y="1298"/>
                  </a:lnTo>
                  <a:lnTo>
                    <a:pt x="2153" y="1004"/>
                  </a:lnTo>
                  <a:lnTo>
                    <a:pt x="2311" y="784"/>
                  </a:lnTo>
                  <a:lnTo>
                    <a:pt x="2390" y="675"/>
                  </a:lnTo>
                  <a:lnTo>
                    <a:pt x="2390" y="675"/>
                  </a:lnTo>
                  <a:lnTo>
                    <a:pt x="2395" y="665"/>
                  </a:lnTo>
                  <a:lnTo>
                    <a:pt x="2400" y="654"/>
                  </a:lnTo>
                  <a:lnTo>
                    <a:pt x="2402" y="643"/>
                  </a:lnTo>
                  <a:lnTo>
                    <a:pt x="2403" y="631"/>
                  </a:lnTo>
                  <a:lnTo>
                    <a:pt x="2403" y="618"/>
                  </a:lnTo>
                  <a:lnTo>
                    <a:pt x="2403" y="605"/>
                  </a:lnTo>
                  <a:lnTo>
                    <a:pt x="2401" y="591"/>
                  </a:lnTo>
                  <a:lnTo>
                    <a:pt x="2397" y="577"/>
                  </a:lnTo>
                  <a:lnTo>
                    <a:pt x="2392" y="562"/>
                  </a:lnTo>
                  <a:lnTo>
                    <a:pt x="2386" y="547"/>
                  </a:lnTo>
                  <a:lnTo>
                    <a:pt x="2380" y="531"/>
                  </a:lnTo>
                  <a:lnTo>
                    <a:pt x="2373" y="514"/>
                  </a:lnTo>
                  <a:lnTo>
                    <a:pt x="2355" y="481"/>
                  </a:lnTo>
                  <a:lnTo>
                    <a:pt x="2334" y="447"/>
                  </a:lnTo>
                  <a:lnTo>
                    <a:pt x="2310" y="412"/>
                  </a:lnTo>
                  <a:lnTo>
                    <a:pt x="2284" y="378"/>
                  </a:lnTo>
                  <a:lnTo>
                    <a:pt x="2255" y="345"/>
                  </a:lnTo>
                  <a:lnTo>
                    <a:pt x="2226" y="311"/>
                  </a:lnTo>
                  <a:lnTo>
                    <a:pt x="2193" y="279"/>
                  </a:lnTo>
                  <a:lnTo>
                    <a:pt x="2161" y="248"/>
                  </a:lnTo>
                  <a:lnTo>
                    <a:pt x="2128" y="220"/>
                  </a:lnTo>
                  <a:lnTo>
                    <a:pt x="2095" y="193"/>
                  </a:lnTo>
                  <a:lnTo>
                    <a:pt x="2095" y="193"/>
                  </a:lnTo>
                  <a:close/>
                  <a:moveTo>
                    <a:pt x="1398" y="308"/>
                  </a:moveTo>
                  <a:lnTo>
                    <a:pt x="1398" y="308"/>
                  </a:lnTo>
                  <a:lnTo>
                    <a:pt x="1400" y="306"/>
                  </a:lnTo>
                  <a:lnTo>
                    <a:pt x="1405" y="300"/>
                  </a:lnTo>
                  <a:lnTo>
                    <a:pt x="1415" y="294"/>
                  </a:lnTo>
                  <a:lnTo>
                    <a:pt x="1421" y="290"/>
                  </a:lnTo>
                  <a:lnTo>
                    <a:pt x="1428" y="288"/>
                  </a:lnTo>
                  <a:lnTo>
                    <a:pt x="1437" y="285"/>
                  </a:lnTo>
                  <a:lnTo>
                    <a:pt x="1445" y="284"/>
                  </a:lnTo>
                  <a:lnTo>
                    <a:pt x="1456" y="284"/>
                  </a:lnTo>
                  <a:lnTo>
                    <a:pt x="1468" y="287"/>
                  </a:lnTo>
                  <a:lnTo>
                    <a:pt x="1482" y="290"/>
                  </a:lnTo>
                  <a:lnTo>
                    <a:pt x="1495" y="295"/>
                  </a:lnTo>
                  <a:lnTo>
                    <a:pt x="1511" y="303"/>
                  </a:lnTo>
                  <a:lnTo>
                    <a:pt x="1528" y="313"/>
                  </a:lnTo>
                  <a:lnTo>
                    <a:pt x="1528" y="313"/>
                  </a:lnTo>
                  <a:lnTo>
                    <a:pt x="1542" y="325"/>
                  </a:lnTo>
                  <a:lnTo>
                    <a:pt x="1555" y="336"/>
                  </a:lnTo>
                  <a:lnTo>
                    <a:pt x="1565" y="347"/>
                  </a:lnTo>
                  <a:lnTo>
                    <a:pt x="1573" y="357"/>
                  </a:lnTo>
                  <a:lnTo>
                    <a:pt x="1580" y="368"/>
                  </a:lnTo>
                  <a:lnTo>
                    <a:pt x="1583" y="376"/>
                  </a:lnTo>
                  <a:lnTo>
                    <a:pt x="1586" y="386"/>
                  </a:lnTo>
                  <a:lnTo>
                    <a:pt x="1587" y="394"/>
                  </a:lnTo>
                  <a:lnTo>
                    <a:pt x="1588" y="401"/>
                  </a:lnTo>
                  <a:lnTo>
                    <a:pt x="1587" y="409"/>
                  </a:lnTo>
                  <a:lnTo>
                    <a:pt x="1584" y="420"/>
                  </a:lnTo>
                  <a:lnTo>
                    <a:pt x="1582" y="427"/>
                  </a:lnTo>
                  <a:lnTo>
                    <a:pt x="1581" y="429"/>
                  </a:lnTo>
                  <a:lnTo>
                    <a:pt x="337" y="2076"/>
                  </a:lnTo>
                  <a:lnTo>
                    <a:pt x="337" y="1902"/>
                  </a:lnTo>
                  <a:lnTo>
                    <a:pt x="239" y="1865"/>
                  </a:lnTo>
                  <a:lnTo>
                    <a:pt x="1398" y="308"/>
                  </a:lnTo>
                  <a:close/>
                  <a:moveTo>
                    <a:pt x="475" y="2657"/>
                  </a:moveTo>
                  <a:lnTo>
                    <a:pt x="475" y="2657"/>
                  </a:lnTo>
                  <a:lnTo>
                    <a:pt x="473" y="2660"/>
                  </a:lnTo>
                  <a:lnTo>
                    <a:pt x="469" y="2664"/>
                  </a:lnTo>
                  <a:lnTo>
                    <a:pt x="456" y="2671"/>
                  </a:lnTo>
                  <a:lnTo>
                    <a:pt x="439" y="2680"/>
                  </a:lnTo>
                  <a:lnTo>
                    <a:pt x="417" y="2689"/>
                  </a:lnTo>
                  <a:lnTo>
                    <a:pt x="364" y="2709"/>
                  </a:lnTo>
                  <a:lnTo>
                    <a:pt x="304" y="2729"/>
                  </a:lnTo>
                  <a:lnTo>
                    <a:pt x="244" y="2746"/>
                  </a:lnTo>
                  <a:lnTo>
                    <a:pt x="216" y="2754"/>
                  </a:lnTo>
                  <a:lnTo>
                    <a:pt x="191" y="2760"/>
                  </a:lnTo>
                  <a:lnTo>
                    <a:pt x="169" y="2764"/>
                  </a:lnTo>
                  <a:lnTo>
                    <a:pt x="152" y="2767"/>
                  </a:lnTo>
                  <a:lnTo>
                    <a:pt x="140" y="2767"/>
                  </a:lnTo>
                  <a:lnTo>
                    <a:pt x="135" y="2766"/>
                  </a:lnTo>
                  <a:lnTo>
                    <a:pt x="134" y="2763"/>
                  </a:lnTo>
                  <a:lnTo>
                    <a:pt x="134" y="2763"/>
                  </a:lnTo>
                  <a:lnTo>
                    <a:pt x="130" y="2756"/>
                  </a:lnTo>
                  <a:lnTo>
                    <a:pt x="129" y="2743"/>
                  </a:lnTo>
                  <a:lnTo>
                    <a:pt x="127" y="2723"/>
                  </a:lnTo>
                  <a:lnTo>
                    <a:pt x="127" y="2700"/>
                  </a:lnTo>
                  <a:lnTo>
                    <a:pt x="125" y="2643"/>
                  </a:lnTo>
                  <a:lnTo>
                    <a:pt x="127" y="2581"/>
                  </a:lnTo>
                  <a:lnTo>
                    <a:pt x="129" y="2518"/>
                  </a:lnTo>
                  <a:lnTo>
                    <a:pt x="133" y="2462"/>
                  </a:lnTo>
                  <a:lnTo>
                    <a:pt x="135" y="2440"/>
                  </a:lnTo>
                  <a:lnTo>
                    <a:pt x="137" y="2423"/>
                  </a:lnTo>
                  <a:lnTo>
                    <a:pt x="140" y="2411"/>
                  </a:lnTo>
                  <a:lnTo>
                    <a:pt x="141" y="2407"/>
                  </a:lnTo>
                  <a:lnTo>
                    <a:pt x="142" y="2406"/>
                  </a:lnTo>
                  <a:lnTo>
                    <a:pt x="142" y="2406"/>
                  </a:lnTo>
                  <a:lnTo>
                    <a:pt x="151" y="2404"/>
                  </a:lnTo>
                  <a:lnTo>
                    <a:pt x="159" y="2403"/>
                  </a:lnTo>
                  <a:lnTo>
                    <a:pt x="170" y="2403"/>
                  </a:lnTo>
                  <a:lnTo>
                    <a:pt x="181" y="2404"/>
                  </a:lnTo>
                  <a:lnTo>
                    <a:pt x="193" y="2406"/>
                  </a:lnTo>
                  <a:lnTo>
                    <a:pt x="206" y="2409"/>
                  </a:lnTo>
                  <a:lnTo>
                    <a:pt x="234" y="2418"/>
                  </a:lnTo>
                  <a:lnTo>
                    <a:pt x="263" y="2432"/>
                  </a:lnTo>
                  <a:lnTo>
                    <a:pt x="295" y="2447"/>
                  </a:lnTo>
                  <a:lnTo>
                    <a:pt x="325" y="2466"/>
                  </a:lnTo>
                  <a:lnTo>
                    <a:pt x="355" y="2486"/>
                  </a:lnTo>
                  <a:lnTo>
                    <a:pt x="384" y="2508"/>
                  </a:lnTo>
                  <a:lnTo>
                    <a:pt x="411" y="2531"/>
                  </a:lnTo>
                  <a:lnTo>
                    <a:pt x="435" y="2554"/>
                  </a:lnTo>
                  <a:lnTo>
                    <a:pt x="445" y="2565"/>
                  </a:lnTo>
                  <a:lnTo>
                    <a:pt x="454" y="2577"/>
                  </a:lnTo>
                  <a:lnTo>
                    <a:pt x="462" y="2588"/>
                  </a:lnTo>
                  <a:lnTo>
                    <a:pt x="469" y="2599"/>
                  </a:lnTo>
                  <a:lnTo>
                    <a:pt x="474" y="2610"/>
                  </a:lnTo>
                  <a:lnTo>
                    <a:pt x="477" y="2620"/>
                  </a:lnTo>
                  <a:lnTo>
                    <a:pt x="480" y="2630"/>
                  </a:lnTo>
                  <a:lnTo>
                    <a:pt x="480" y="2640"/>
                  </a:lnTo>
                  <a:lnTo>
                    <a:pt x="479" y="2649"/>
                  </a:lnTo>
                  <a:lnTo>
                    <a:pt x="475" y="2657"/>
                  </a:lnTo>
                  <a:lnTo>
                    <a:pt x="475" y="2657"/>
                  </a:lnTo>
                  <a:close/>
                  <a:moveTo>
                    <a:pt x="490" y="2117"/>
                  </a:moveTo>
                  <a:lnTo>
                    <a:pt x="1692" y="455"/>
                  </a:lnTo>
                  <a:lnTo>
                    <a:pt x="1692" y="455"/>
                  </a:lnTo>
                  <a:lnTo>
                    <a:pt x="1694" y="453"/>
                  </a:lnTo>
                  <a:lnTo>
                    <a:pt x="1699" y="450"/>
                  </a:lnTo>
                  <a:lnTo>
                    <a:pt x="1708" y="446"/>
                  </a:lnTo>
                  <a:lnTo>
                    <a:pt x="1713" y="444"/>
                  </a:lnTo>
                  <a:lnTo>
                    <a:pt x="1720" y="443"/>
                  </a:lnTo>
                  <a:lnTo>
                    <a:pt x="1728" y="443"/>
                  </a:lnTo>
                  <a:lnTo>
                    <a:pt x="1737" y="444"/>
                  </a:lnTo>
                  <a:lnTo>
                    <a:pt x="1748" y="445"/>
                  </a:lnTo>
                  <a:lnTo>
                    <a:pt x="1760" y="449"/>
                  </a:lnTo>
                  <a:lnTo>
                    <a:pt x="1773" y="452"/>
                  </a:lnTo>
                  <a:lnTo>
                    <a:pt x="1788" y="460"/>
                  </a:lnTo>
                  <a:lnTo>
                    <a:pt x="1803" y="468"/>
                  </a:lnTo>
                  <a:lnTo>
                    <a:pt x="1821" y="478"/>
                  </a:lnTo>
                  <a:lnTo>
                    <a:pt x="1821" y="478"/>
                  </a:lnTo>
                  <a:lnTo>
                    <a:pt x="1836" y="489"/>
                  </a:lnTo>
                  <a:lnTo>
                    <a:pt x="1849" y="499"/>
                  </a:lnTo>
                  <a:lnTo>
                    <a:pt x="1859" y="509"/>
                  </a:lnTo>
                  <a:lnTo>
                    <a:pt x="1867" y="520"/>
                  </a:lnTo>
                  <a:lnTo>
                    <a:pt x="1875" y="530"/>
                  </a:lnTo>
                  <a:lnTo>
                    <a:pt x="1880" y="539"/>
                  </a:lnTo>
                  <a:lnTo>
                    <a:pt x="1883" y="549"/>
                  </a:lnTo>
                  <a:lnTo>
                    <a:pt x="1887" y="558"/>
                  </a:lnTo>
                  <a:lnTo>
                    <a:pt x="1888" y="565"/>
                  </a:lnTo>
                  <a:lnTo>
                    <a:pt x="1888" y="572"/>
                  </a:lnTo>
                  <a:lnTo>
                    <a:pt x="1888" y="584"/>
                  </a:lnTo>
                  <a:lnTo>
                    <a:pt x="1887" y="591"/>
                  </a:lnTo>
                  <a:lnTo>
                    <a:pt x="1886" y="594"/>
                  </a:lnTo>
                  <a:lnTo>
                    <a:pt x="624" y="2291"/>
                  </a:lnTo>
                  <a:lnTo>
                    <a:pt x="624" y="2094"/>
                  </a:lnTo>
                  <a:lnTo>
                    <a:pt x="490" y="2117"/>
                  </a:lnTo>
                  <a:close/>
                  <a:moveTo>
                    <a:pt x="2117" y="835"/>
                  </a:moveTo>
                  <a:lnTo>
                    <a:pt x="937" y="2462"/>
                  </a:lnTo>
                  <a:lnTo>
                    <a:pt x="902" y="2386"/>
                  </a:lnTo>
                  <a:lnTo>
                    <a:pt x="750" y="2359"/>
                  </a:lnTo>
                  <a:lnTo>
                    <a:pt x="1973" y="677"/>
                  </a:lnTo>
                  <a:lnTo>
                    <a:pt x="1973" y="677"/>
                  </a:lnTo>
                  <a:lnTo>
                    <a:pt x="1975" y="676"/>
                  </a:lnTo>
                  <a:lnTo>
                    <a:pt x="1979" y="672"/>
                  </a:lnTo>
                  <a:lnTo>
                    <a:pt x="1987" y="669"/>
                  </a:lnTo>
                  <a:lnTo>
                    <a:pt x="1992" y="669"/>
                  </a:lnTo>
                  <a:lnTo>
                    <a:pt x="1998" y="668"/>
                  </a:lnTo>
                  <a:lnTo>
                    <a:pt x="2005" y="669"/>
                  </a:lnTo>
                  <a:lnTo>
                    <a:pt x="2014" y="670"/>
                  </a:lnTo>
                  <a:lnTo>
                    <a:pt x="2022" y="674"/>
                  </a:lnTo>
                  <a:lnTo>
                    <a:pt x="2032" y="679"/>
                  </a:lnTo>
                  <a:lnTo>
                    <a:pt x="2043" y="685"/>
                  </a:lnTo>
                  <a:lnTo>
                    <a:pt x="2055" y="693"/>
                  </a:lnTo>
                  <a:lnTo>
                    <a:pt x="2067" y="704"/>
                  </a:lnTo>
                  <a:lnTo>
                    <a:pt x="2080" y="718"/>
                  </a:lnTo>
                  <a:lnTo>
                    <a:pt x="2080" y="718"/>
                  </a:lnTo>
                  <a:lnTo>
                    <a:pt x="2091" y="731"/>
                  </a:lnTo>
                  <a:lnTo>
                    <a:pt x="2101" y="741"/>
                  </a:lnTo>
                  <a:lnTo>
                    <a:pt x="2108" y="754"/>
                  </a:lnTo>
                  <a:lnTo>
                    <a:pt x="2113" y="764"/>
                  </a:lnTo>
                  <a:lnTo>
                    <a:pt x="2118" y="774"/>
                  </a:lnTo>
                  <a:lnTo>
                    <a:pt x="2120" y="784"/>
                  </a:lnTo>
                  <a:lnTo>
                    <a:pt x="2121" y="793"/>
                  </a:lnTo>
                  <a:lnTo>
                    <a:pt x="2123" y="801"/>
                  </a:lnTo>
                  <a:lnTo>
                    <a:pt x="2121" y="815"/>
                  </a:lnTo>
                  <a:lnTo>
                    <a:pt x="2120" y="826"/>
                  </a:lnTo>
                  <a:lnTo>
                    <a:pt x="2118" y="832"/>
                  </a:lnTo>
                  <a:lnTo>
                    <a:pt x="2117" y="835"/>
                  </a:lnTo>
                  <a:lnTo>
                    <a:pt x="2117" y="83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632363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직사각형 13"/>
          <p:cNvSpPr/>
          <p:nvPr/>
        </p:nvSpPr>
        <p:spPr>
          <a:xfrm>
            <a:off x="375916" y="1619581"/>
            <a:ext cx="8430970" cy="144171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15" name="Group 9"/>
          <p:cNvGrpSpPr/>
          <p:nvPr/>
        </p:nvGrpSpPr>
        <p:grpSpPr>
          <a:xfrm>
            <a:off x="7782747" y="1395800"/>
            <a:ext cx="1383914" cy="1075437"/>
            <a:chOff x="4929090" y="2803881"/>
            <a:chExt cx="3266866" cy="2538675"/>
          </a:xfr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grpSpPr>
        <p:grpSp>
          <p:nvGrpSpPr>
            <p:cNvPr id="16" name="Group 46"/>
            <p:cNvGrpSpPr/>
            <p:nvPr/>
          </p:nvGrpSpPr>
          <p:grpSpPr>
            <a:xfrm rot="1365204">
              <a:off x="4929090" y="2838670"/>
              <a:ext cx="3266866" cy="2503886"/>
              <a:chOff x="625475" y="2439988"/>
              <a:chExt cx="482600" cy="369888"/>
            </a:xfrm>
            <a:solidFill>
              <a:srgbClr val="0D65AC"/>
            </a:solidFill>
            <a:effectLst/>
          </p:grpSpPr>
          <p:sp>
            <p:nvSpPr>
              <p:cNvPr id="18" name="Freeform 168"/>
              <p:cNvSpPr>
                <a:spLocks noEditPoints="1"/>
              </p:cNvSpPr>
              <p:nvPr/>
            </p:nvSpPr>
            <p:spPr bwMode="auto">
              <a:xfrm>
                <a:off x="625475" y="2439988"/>
                <a:ext cx="482600" cy="369888"/>
              </a:xfrm>
              <a:custGeom>
                <a:avLst/>
                <a:gdLst>
                  <a:gd name="T0" fmla="*/ 566 w 1519"/>
                  <a:gd name="T1" fmla="*/ 10 h 1165"/>
                  <a:gd name="T2" fmla="*/ 675 w 1519"/>
                  <a:gd name="T3" fmla="*/ 46 h 1165"/>
                  <a:gd name="T4" fmla="*/ 770 w 1519"/>
                  <a:gd name="T5" fmla="*/ 107 h 1165"/>
                  <a:gd name="T6" fmla="*/ 848 w 1519"/>
                  <a:gd name="T7" fmla="*/ 189 h 1165"/>
                  <a:gd name="T8" fmla="*/ 904 w 1519"/>
                  <a:gd name="T9" fmla="*/ 288 h 1165"/>
                  <a:gd name="T10" fmla="*/ 936 w 1519"/>
                  <a:gd name="T11" fmla="*/ 399 h 1165"/>
                  <a:gd name="T12" fmla="*/ 938 w 1519"/>
                  <a:gd name="T13" fmla="*/ 520 h 1165"/>
                  <a:gd name="T14" fmla="*/ 912 w 1519"/>
                  <a:gd name="T15" fmla="*/ 635 h 1165"/>
                  <a:gd name="T16" fmla="*/ 1503 w 1519"/>
                  <a:gd name="T17" fmla="*/ 1047 h 1165"/>
                  <a:gd name="T18" fmla="*/ 1518 w 1519"/>
                  <a:gd name="T19" fmla="*/ 1078 h 1165"/>
                  <a:gd name="T20" fmla="*/ 1517 w 1519"/>
                  <a:gd name="T21" fmla="*/ 1113 h 1165"/>
                  <a:gd name="T22" fmla="*/ 1498 w 1519"/>
                  <a:gd name="T23" fmla="*/ 1143 h 1165"/>
                  <a:gd name="T24" fmla="*/ 1469 w 1519"/>
                  <a:gd name="T25" fmla="*/ 1161 h 1165"/>
                  <a:gd name="T26" fmla="*/ 1435 w 1519"/>
                  <a:gd name="T27" fmla="*/ 1163 h 1165"/>
                  <a:gd name="T28" fmla="*/ 828 w 1519"/>
                  <a:gd name="T29" fmla="*/ 778 h 1165"/>
                  <a:gd name="T30" fmla="*/ 735 w 1519"/>
                  <a:gd name="T31" fmla="*/ 860 h 1165"/>
                  <a:gd name="T32" fmla="*/ 623 w 1519"/>
                  <a:gd name="T33" fmla="*/ 916 h 1165"/>
                  <a:gd name="T34" fmla="*/ 497 w 1519"/>
                  <a:gd name="T35" fmla="*/ 941 h 1165"/>
                  <a:gd name="T36" fmla="*/ 376 w 1519"/>
                  <a:gd name="T37" fmla="*/ 932 h 1165"/>
                  <a:gd name="T38" fmla="*/ 266 w 1519"/>
                  <a:gd name="T39" fmla="*/ 895 h 1165"/>
                  <a:gd name="T40" fmla="*/ 172 w 1519"/>
                  <a:gd name="T41" fmla="*/ 834 h 1165"/>
                  <a:gd name="T42" fmla="*/ 94 w 1519"/>
                  <a:gd name="T43" fmla="*/ 752 h 1165"/>
                  <a:gd name="T44" fmla="*/ 37 w 1519"/>
                  <a:gd name="T45" fmla="*/ 654 h 1165"/>
                  <a:gd name="T46" fmla="*/ 6 w 1519"/>
                  <a:gd name="T47" fmla="*/ 542 h 1165"/>
                  <a:gd name="T48" fmla="*/ 3 w 1519"/>
                  <a:gd name="T49" fmla="*/ 423 h 1165"/>
                  <a:gd name="T50" fmla="*/ 29 w 1519"/>
                  <a:gd name="T51" fmla="*/ 308 h 1165"/>
                  <a:gd name="T52" fmla="*/ 81 w 1519"/>
                  <a:gd name="T53" fmla="*/ 208 h 1165"/>
                  <a:gd name="T54" fmla="*/ 155 w 1519"/>
                  <a:gd name="T55" fmla="*/ 122 h 1165"/>
                  <a:gd name="T56" fmla="*/ 246 w 1519"/>
                  <a:gd name="T57" fmla="*/ 57 h 1165"/>
                  <a:gd name="T58" fmla="*/ 353 w 1519"/>
                  <a:gd name="T59" fmla="*/ 15 h 1165"/>
                  <a:gd name="T60" fmla="*/ 471 w 1519"/>
                  <a:gd name="T61" fmla="*/ 0 h 1165"/>
                  <a:gd name="T62" fmla="*/ 543 w 1519"/>
                  <a:gd name="T63" fmla="*/ 119 h 1165"/>
                  <a:gd name="T64" fmla="*/ 627 w 1519"/>
                  <a:gd name="T65" fmla="*/ 147 h 1165"/>
                  <a:gd name="T66" fmla="*/ 699 w 1519"/>
                  <a:gd name="T67" fmla="*/ 194 h 1165"/>
                  <a:gd name="T68" fmla="*/ 759 w 1519"/>
                  <a:gd name="T69" fmla="*/ 256 h 1165"/>
                  <a:gd name="T70" fmla="*/ 802 w 1519"/>
                  <a:gd name="T71" fmla="*/ 331 h 1165"/>
                  <a:gd name="T72" fmla="*/ 825 w 1519"/>
                  <a:gd name="T73" fmla="*/ 416 h 1165"/>
                  <a:gd name="T74" fmla="*/ 828 w 1519"/>
                  <a:gd name="T75" fmla="*/ 507 h 1165"/>
                  <a:gd name="T76" fmla="*/ 807 w 1519"/>
                  <a:gd name="T77" fmla="*/ 594 h 1165"/>
                  <a:gd name="T78" fmla="*/ 768 w 1519"/>
                  <a:gd name="T79" fmla="*/ 671 h 1165"/>
                  <a:gd name="T80" fmla="*/ 713 w 1519"/>
                  <a:gd name="T81" fmla="*/ 736 h 1165"/>
                  <a:gd name="T82" fmla="*/ 641 w 1519"/>
                  <a:gd name="T83" fmla="*/ 786 h 1165"/>
                  <a:gd name="T84" fmla="*/ 560 w 1519"/>
                  <a:gd name="T85" fmla="*/ 818 h 1165"/>
                  <a:gd name="T86" fmla="*/ 471 w 1519"/>
                  <a:gd name="T87" fmla="*/ 829 h 1165"/>
                  <a:gd name="T88" fmla="*/ 382 w 1519"/>
                  <a:gd name="T89" fmla="*/ 818 h 1165"/>
                  <a:gd name="T90" fmla="*/ 300 w 1519"/>
                  <a:gd name="T91" fmla="*/ 786 h 1165"/>
                  <a:gd name="T92" fmla="*/ 229 w 1519"/>
                  <a:gd name="T93" fmla="*/ 736 h 1165"/>
                  <a:gd name="T94" fmla="*/ 174 w 1519"/>
                  <a:gd name="T95" fmla="*/ 671 h 1165"/>
                  <a:gd name="T96" fmla="*/ 134 w 1519"/>
                  <a:gd name="T97" fmla="*/ 594 h 1165"/>
                  <a:gd name="T98" fmla="*/ 114 w 1519"/>
                  <a:gd name="T99" fmla="*/ 507 h 1165"/>
                  <a:gd name="T100" fmla="*/ 116 w 1519"/>
                  <a:gd name="T101" fmla="*/ 416 h 1165"/>
                  <a:gd name="T102" fmla="*/ 140 w 1519"/>
                  <a:gd name="T103" fmla="*/ 331 h 1165"/>
                  <a:gd name="T104" fmla="*/ 183 w 1519"/>
                  <a:gd name="T105" fmla="*/ 256 h 1165"/>
                  <a:gd name="T106" fmla="*/ 243 w 1519"/>
                  <a:gd name="T107" fmla="*/ 194 h 1165"/>
                  <a:gd name="T108" fmla="*/ 315 w 1519"/>
                  <a:gd name="T109" fmla="*/ 147 h 1165"/>
                  <a:gd name="T110" fmla="*/ 399 w 1519"/>
                  <a:gd name="T111" fmla="*/ 119 h 1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519" h="1165">
                    <a:moveTo>
                      <a:pt x="471" y="0"/>
                    </a:moveTo>
                    <a:lnTo>
                      <a:pt x="495" y="1"/>
                    </a:lnTo>
                    <a:lnTo>
                      <a:pt x="519" y="2"/>
                    </a:lnTo>
                    <a:lnTo>
                      <a:pt x="542" y="6"/>
                    </a:lnTo>
                    <a:lnTo>
                      <a:pt x="566" y="10"/>
                    </a:lnTo>
                    <a:lnTo>
                      <a:pt x="588" y="15"/>
                    </a:lnTo>
                    <a:lnTo>
                      <a:pt x="611" y="22"/>
                    </a:lnTo>
                    <a:lnTo>
                      <a:pt x="632" y="28"/>
                    </a:lnTo>
                    <a:lnTo>
                      <a:pt x="654" y="37"/>
                    </a:lnTo>
                    <a:lnTo>
                      <a:pt x="675" y="46"/>
                    </a:lnTo>
                    <a:lnTo>
                      <a:pt x="696" y="57"/>
                    </a:lnTo>
                    <a:lnTo>
                      <a:pt x="715" y="68"/>
                    </a:lnTo>
                    <a:lnTo>
                      <a:pt x="734" y="80"/>
                    </a:lnTo>
                    <a:lnTo>
                      <a:pt x="752" y="94"/>
                    </a:lnTo>
                    <a:lnTo>
                      <a:pt x="770" y="107"/>
                    </a:lnTo>
                    <a:lnTo>
                      <a:pt x="787" y="122"/>
                    </a:lnTo>
                    <a:lnTo>
                      <a:pt x="804" y="138"/>
                    </a:lnTo>
                    <a:lnTo>
                      <a:pt x="819" y="155"/>
                    </a:lnTo>
                    <a:lnTo>
                      <a:pt x="833" y="172"/>
                    </a:lnTo>
                    <a:lnTo>
                      <a:pt x="848" y="189"/>
                    </a:lnTo>
                    <a:lnTo>
                      <a:pt x="860" y="208"/>
                    </a:lnTo>
                    <a:lnTo>
                      <a:pt x="873" y="227"/>
                    </a:lnTo>
                    <a:lnTo>
                      <a:pt x="884" y="246"/>
                    </a:lnTo>
                    <a:lnTo>
                      <a:pt x="895" y="267"/>
                    </a:lnTo>
                    <a:lnTo>
                      <a:pt x="904" y="288"/>
                    </a:lnTo>
                    <a:lnTo>
                      <a:pt x="912" y="308"/>
                    </a:lnTo>
                    <a:lnTo>
                      <a:pt x="920" y="331"/>
                    </a:lnTo>
                    <a:lnTo>
                      <a:pt x="926" y="354"/>
                    </a:lnTo>
                    <a:lnTo>
                      <a:pt x="932" y="376"/>
                    </a:lnTo>
                    <a:lnTo>
                      <a:pt x="936" y="399"/>
                    </a:lnTo>
                    <a:lnTo>
                      <a:pt x="938" y="423"/>
                    </a:lnTo>
                    <a:lnTo>
                      <a:pt x="941" y="446"/>
                    </a:lnTo>
                    <a:lnTo>
                      <a:pt x="942" y="471"/>
                    </a:lnTo>
                    <a:lnTo>
                      <a:pt x="941" y="495"/>
                    </a:lnTo>
                    <a:lnTo>
                      <a:pt x="938" y="520"/>
                    </a:lnTo>
                    <a:lnTo>
                      <a:pt x="936" y="543"/>
                    </a:lnTo>
                    <a:lnTo>
                      <a:pt x="932" y="567"/>
                    </a:lnTo>
                    <a:lnTo>
                      <a:pt x="926" y="590"/>
                    </a:lnTo>
                    <a:lnTo>
                      <a:pt x="919" y="612"/>
                    </a:lnTo>
                    <a:lnTo>
                      <a:pt x="912" y="635"/>
                    </a:lnTo>
                    <a:lnTo>
                      <a:pt x="903" y="656"/>
                    </a:lnTo>
                    <a:lnTo>
                      <a:pt x="1486" y="1032"/>
                    </a:lnTo>
                    <a:lnTo>
                      <a:pt x="1492" y="1037"/>
                    </a:lnTo>
                    <a:lnTo>
                      <a:pt x="1497" y="1041"/>
                    </a:lnTo>
                    <a:lnTo>
                      <a:pt x="1503" y="1047"/>
                    </a:lnTo>
                    <a:lnTo>
                      <a:pt x="1506" y="1053"/>
                    </a:lnTo>
                    <a:lnTo>
                      <a:pt x="1511" y="1058"/>
                    </a:lnTo>
                    <a:lnTo>
                      <a:pt x="1513" y="1065"/>
                    </a:lnTo>
                    <a:lnTo>
                      <a:pt x="1515" y="1071"/>
                    </a:lnTo>
                    <a:lnTo>
                      <a:pt x="1518" y="1078"/>
                    </a:lnTo>
                    <a:lnTo>
                      <a:pt x="1519" y="1084"/>
                    </a:lnTo>
                    <a:lnTo>
                      <a:pt x="1519" y="1091"/>
                    </a:lnTo>
                    <a:lnTo>
                      <a:pt x="1519" y="1098"/>
                    </a:lnTo>
                    <a:lnTo>
                      <a:pt x="1518" y="1105"/>
                    </a:lnTo>
                    <a:lnTo>
                      <a:pt x="1517" y="1113"/>
                    </a:lnTo>
                    <a:lnTo>
                      <a:pt x="1514" y="1118"/>
                    </a:lnTo>
                    <a:lnTo>
                      <a:pt x="1512" y="1125"/>
                    </a:lnTo>
                    <a:lnTo>
                      <a:pt x="1507" y="1132"/>
                    </a:lnTo>
                    <a:lnTo>
                      <a:pt x="1504" y="1137"/>
                    </a:lnTo>
                    <a:lnTo>
                      <a:pt x="1498" y="1143"/>
                    </a:lnTo>
                    <a:lnTo>
                      <a:pt x="1494" y="1148"/>
                    </a:lnTo>
                    <a:lnTo>
                      <a:pt x="1488" y="1152"/>
                    </a:lnTo>
                    <a:lnTo>
                      <a:pt x="1483" y="1155"/>
                    </a:lnTo>
                    <a:lnTo>
                      <a:pt x="1476" y="1159"/>
                    </a:lnTo>
                    <a:lnTo>
                      <a:pt x="1469" y="1161"/>
                    </a:lnTo>
                    <a:lnTo>
                      <a:pt x="1462" y="1163"/>
                    </a:lnTo>
                    <a:lnTo>
                      <a:pt x="1456" y="1165"/>
                    </a:lnTo>
                    <a:lnTo>
                      <a:pt x="1449" y="1165"/>
                    </a:lnTo>
                    <a:lnTo>
                      <a:pt x="1442" y="1165"/>
                    </a:lnTo>
                    <a:lnTo>
                      <a:pt x="1435" y="1163"/>
                    </a:lnTo>
                    <a:lnTo>
                      <a:pt x="1428" y="1162"/>
                    </a:lnTo>
                    <a:lnTo>
                      <a:pt x="1422" y="1160"/>
                    </a:lnTo>
                    <a:lnTo>
                      <a:pt x="1415" y="1157"/>
                    </a:lnTo>
                    <a:lnTo>
                      <a:pt x="1409" y="1153"/>
                    </a:lnTo>
                    <a:lnTo>
                      <a:pt x="828" y="778"/>
                    </a:lnTo>
                    <a:lnTo>
                      <a:pt x="811" y="796"/>
                    </a:lnTo>
                    <a:lnTo>
                      <a:pt x="793" y="813"/>
                    </a:lnTo>
                    <a:lnTo>
                      <a:pt x="775" y="830"/>
                    </a:lnTo>
                    <a:lnTo>
                      <a:pt x="755" y="846"/>
                    </a:lnTo>
                    <a:lnTo>
                      <a:pt x="735" y="860"/>
                    </a:lnTo>
                    <a:lnTo>
                      <a:pt x="714" y="873"/>
                    </a:lnTo>
                    <a:lnTo>
                      <a:pt x="692" y="886"/>
                    </a:lnTo>
                    <a:lnTo>
                      <a:pt x="670" y="897"/>
                    </a:lnTo>
                    <a:lnTo>
                      <a:pt x="647" y="907"/>
                    </a:lnTo>
                    <a:lnTo>
                      <a:pt x="623" y="916"/>
                    </a:lnTo>
                    <a:lnTo>
                      <a:pt x="600" y="924"/>
                    </a:lnTo>
                    <a:lnTo>
                      <a:pt x="575" y="930"/>
                    </a:lnTo>
                    <a:lnTo>
                      <a:pt x="549" y="935"/>
                    </a:lnTo>
                    <a:lnTo>
                      <a:pt x="524" y="939"/>
                    </a:lnTo>
                    <a:lnTo>
                      <a:pt x="497" y="941"/>
                    </a:lnTo>
                    <a:lnTo>
                      <a:pt x="471" y="941"/>
                    </a:lnTo>
                    <a:lnTo>
                      <a:pt x="447" y="941"/>
                    </a:lnTo>
                    <a:lnTo>
                      <a:pt x="422" y="939"/>
                    </a:lnTo>
                    <a:lnTo>
                      <a:pt x="400" y="935"/>
                    </a:lnTo>
                    <a:lnTo>
                      <a:pt x="376" y="932"/>
                    </a:lnTo>
                    <a:lnTo>
                      <a:pt x="353" y="926"/>
                    </a:lnTo>
                    <a:lnTo>
                      <a:pt x="331" y="921"/>
                    </a:lnTo>
                    <a:lnTo>
                      <a:pt x="309" y="913"/>
                    </a:lnTo>
                    <a:lnTo>
                      <a:pt x="288" y="905"/>
                    </a:lnTo>
                    <a:lnTo>
                      <a:pt x="266" y="895"/>
                    </a:lnTo>
                    <a:lnTo>
                      <a:pt x="246" y="884"/>
                    </a:lnTo>
                    <a:lnTo>
                      <a:pt x="227" y="873"/>
                    </a:lnTo>
                    <a:lnTo>
                      <a:pt x="208" y="861"/>
                    </a:lnTo>
                    <a:lnTo>
                      <a:pt x="190" y="848"/>
                    </a:lnTo>
                    <a:lnTo>
                      <a:pt x="172" y="834"/>
                    </a:lnTo>
                    <a:lnTo>
                      <a:pt x="155" y="819"/>
                    </a:lnTo>
                    <a:lnTo>
                      <a:pt x="138" y="803"/>
                    </a:lnTo>
                    <a:lnTo>
                      <a:pt x="123" y="787"/>
                    </a:lnTo>
                    <a:lnTo>
                      <a:pt x="108" y="770"/>
                    </a:lnTo>
                    <a:lnTo>
                      <a:pt x="94" y="752"/>
                    </a:lnTo>
                    <a:lnTo>
                      <a:pt x="81" y="734"/>
                    </a:lnTo>
                    <a:lnTo>
                      <a:pt x="69" y="715"/>
                    </a:lnTo>
                    <a:lnTo>
                      <a:pt x="58" y="695"/>
                    </a:lnTo>
                    <a:lnTo>
                      <a:pt x="46" y="674"/>
                    </a:lnTo>
                    <a:lnTo>
                      <a:pt x="37" y="654"/>
                    </a:lnTo>
                    <a:lnTo>
                      <a:pt x="29" y="633"/>
                    </a:lnTo>
                    <a:lnTo>
                      <a:pt x="21" y="611"/>
                    </a:lnTo>
                    <a:lnTo>
                      <a:pt x="16" y="589"/>
                    </a:lnTo>
                    <a:lnTo>
                      <a:pt x="10" y="566"/>
                    </a:lnTo>
                    <a:lnTo>
                      <a:pt x="6" y="542"/>
                    </a:lnTo>
                    <a:lnTo>
                      <a:pt x="3" y="519"/>
                    </a:lnTo>
                    <a:lnTo>
                      <a:pt x="1" y="495"/>
                    </a:lnTo>
                    <a:lnTo>
                      <a:pt x="0" y="471"/>
                    </a:lnTo>
                    <a:lnTo>
                      <a:pt x="1" y="446"/>
                    </a:lnTo>
                    <a:lnTo>
                      <a:pt x="3" y="423"/>
                    </a:lnTo>
                    <a:lnTo>
                      <a:pt x="6" y="399"/>
                    </a:lnTo>
                    <a:lnTo>
                      <a:pt x="10" y="376"/>
                    </a:lnTo>
                    <a:lnTo>
                      <a:pt x="16" y="354"/>
                    </a:lnTo>
                    <a:lnTo>
                      <a:pt x="21" y="331"/>
                    </a:lnTo>
                    <a:lnTo>
                      <a:pt x="29" y="308"/>
                    </a:lnTo>
                    <a:lnTo>
                      <a:pt x="37" y="288"/>
                    </a:lnTo>
                    <a:lnTo>
                      <a:pt x="46" y="267"/>
                    </a:lnTo>
                    <a:lnTo>
                      <a:pt x="58" y="246"/>
                    </a:lnTo>
                    <a:lnTo>
                      <a:pt x="69" y="227"/>
                    </a:lnTo>
                    <a:lnTo>
                      <a:pt x="81" y="208"/>
                    </a:lnTo>
                    <a:lnTo>
                      <a:pt x="94" y="189"/>
                    </a:lnTo>
                    <a:lnTo>
                      <a:pt x="108" y="172"/>
                    </a:lnTo>
                    <a:lnTo>
                      <a:pt x="123" y="155"/>
                    </a:lnTo>
                    <a:lnTo>
                      <a:pt x="138" y="138"/>
                    </a:lnTo>
                    <a:lnTo>
                      <a:pt x="155" y="122"/>
                    </a:lnTo>
                    <a:lnTo>
                      <a:pt x="172" y="107"/>
                    </a:lnTo>
                    <a:lnTo>
                      <a:pt x="190" y="94"/>
                    </a:lnTo>
                    <a:lnTo>
                      <a:pt x="208" y="80"/>
                    </a:lnTo>
                    <a:lnTo>
                      <a:pt x="227" y="68"/>
                    </a:lnTo>
                    <a:lnTo>
                      <a:pt x="246" y="57"/>
                    </a:lnTo>
                    <a:lnTo>
                      <a:pt x="266" y="46"/>
                    </a:lnTo>
                    <a:lnTo>
                      <a:pt x="288" y="37"/>
                    </a:lnTo>
                    <a:lnTo>
                      <a:pt x="309" y="28"/>
                    </a:lnTo>
                    <a:lnTo>
                      <a:pt x="331" y="22"/>
                    </a:lnTo>
                    <a:lnTo>
                      <a:pt x="353" y="15"/>
                    </a:lnTo>
                    <a:lnTo>
                      <a:pt x="376" y="10"/>
                    </a:lnTo>
                    <a:lnTo>
                      <a:pt x="400" y="6"/>
                    </a:lnTo>
                    <a:lnTo>
                      <a:pt x="422" y="2"/>
                    </a:lnTo>
                    <a:lnTo>
                      <a:pt x="447" y="1"/>
                    </a:lnTo>
                    <a:lnTo>
                      <a:pt x="471" y="0"/>
                    </a:lnTo>
                    <a:close/>
                    <a:moveTo>
                      <a:pt x="471" y="112"/>
                    </a:moveTo>
                    <a:lnTo>
                      <a:pt x="489" y="112"/>
                    </a:lnTo>
                    <a:lnTo>
                      <a:pt x="507" y="114"/>
                    </a:lnTo>
                    <a:lnTo>
                      <a:pt x="525" y="116"/>
                    </a:lnTo>
                    <a:lnTo>
                      <a:pt x="543" y="119"/>
                    </a:lnTo>
                    <a:lnTo>
                      <a:pt x="560" y="123"/>
                    </a:lnTo>
                    <a:lnTo>
                      <a:pt x="577" y="128"/>
                    </a:lnTo>
                    <a:lnTo>
                      <a:pt x="594" y="133"/>
                    </a:lnTo>
                    <a:lnTo>
                      <a:pt x="611" y="140"/>
                    </a:lnTo>
                    <a:lnTo>
                      <a:pt x="627" y="147"/>
                    </a:lnTo>
                    <a:lnTo>
                      <a:pt x="641" y="155"/>
                    </a:lnTo>
                    <a:lnTo>
                      <a:pt x="657" y="164"/>
                    </a:lnTo>
                    <a:lnTo>
                      <a:pt x="672" y="173"/>
                    </a:lnTo>
                    <a:lnTo>
                      <a:pt x="685" y="183"/>
                    </a:lnTo>
                    <a:lnTo>
                      <a:pt x="699" y="194"/>
                    </a:lnTo>
                    <a:lnTo>
                      <a:pt x="713" y="206"/>
                    </a:lnTo>
                    <a:lnTo>
                      <a:pt x="725" y="217"/>
                    </a:lnTo>
                    <a:lnTo>
                      <a:pt x="736" y="229"/>
                    </a:lnTo>
                    <a:lnTo>
                      <a:pt x="748" y="243"/>
                    </a:lnTo>
                    <a:lnTo>
                      <a:pt x="759" y="256"/>
                    </a:lnTo>
                    <a:lnTo>
                      <a:pt x="768" y="270"/>
                    </a:lnTo>
                    <a:lnTo>
                      <a:pt x="778" y="285"/>
                    </a:lnTo>
                    <a:lnTo>
                      <a:pt x="786" y="299"/>
                    </a:lnTo>
                    <a:lnTo>
                      <a:pt x="794" y="315"/>
                    </a:lnTo>
                    <a:lnTo>
                      <a:pt x="802" y="331"/>
                    </a:lnTo>
                    <a:lnTo>
                      <a:pt x="807" y="347"/>
                    </a:lnTo>
                    <a:lnTo>
                      <a:pt x="813" y="364"/>
                    </a:lnTo>
                    <a:lnTo>
                      <a:pt x="819" y="381"/>
                    </a:lnTo>
                    <a:lnTo>
                      <a:pt x="822" y="399"/>
                    </a:lnTo>
                    <a:lnTo>
                      <a:pt x="825" y="416"/>
                    </a:lnTo>
                    <a:lnTo>
                      <a:pt x="828" y="434"/>
                    </a:lnTo>
                    <a:lnTo>
                      <a:pt x="829" y="452"/>
                    </a:lnTo>
                    <a:lnTo>
                      <a:pt x="830" y="471"/>
                    </a:lnTo>
                    <a:lnTo>
                      <a:pt x="829" y="489"/>
                    </a:lnTo>
                    <a:lnTo>
                      <a:pt x="828" y="507"/>
                    </a:lnTo>
                    <a:lnTo>
                      <a:pt x="825" y="525"/>
                    </a:lnTo>
                    <a:lnTo>
                      <a:pt x="822" y="543"/>
                    </a:lnTo>
                    <a:lnTo>
                      <a:pt x="819" y="560"/>
                    </a:lnTo>
                    <a:lnTo>
                      <a:pt x="813" y="577"/>
                    </a:lnTo>
                    <a:lnTo>
                      <a:pt x="807" y="594"/>
                    </a:lnTo>
                    <a:lnTo>
                      <a:pt x="802" y="610"/>
                    </a:lnTo>
                    <a:lnTo>
                      <a:pt x="794" y="626"/>
                    </a:lnTo>
                    <a:lnTo>
                      <a:pt x="786" y="642"/>
                    </a:lnTo>
                    <a:lnTo>
                      <a:pt x="778" y="656"/>
                    </a:lnTo>
                    <a:lnTo>
                      <a:pt x="768" y="671"/>
                    </a:lnTo>
                    <a:lnTo>
                      <a:pt x="759" y="686"/>
                    </a:lnTo>
                    <a:lnTo>
                      <a:pt x="748" y="699"/>
                    </a:lnTo>
                    <a:lnTo>
                      <a:pt x="736" y="712"/>
                    </a:lnTo>
                    <a:lnTo>
                      <a:pt x="725" y="724"/>
                    </a:lnTo>
                    <a:lnTo>
                      <a:pt x="713" y="736"/>
                    </a:lnTo>
                    <a:lnTo>
                      <a:pt x="699" y="748"/>
                    </a:lnTo>
                    <a:lnTo>
                      <a:pt x="685" y="758"/>
                    </a:lnTo>
                    <a:lnTo>
                      <a:pt x="672" y="768"/>
                    </a:lnTo>
                    <a:lnTo>
                      <a:pt x="657" y="777"/>
                    </a:lnTo>
                    <a:lnTo>
                      <a:pt x="641" y="786"/>
                    </a:lnTo>
                    <a:lnTo>
                      <a:pt x="627" y="794"/>
                    </a:lnTo>
                    <a:lnTo>
                      <a:pt x="611" y="801"/>
                    </a:lnTo>
                    <a:lnTo>
                      <a:pt x="594" y="808"/>
                    </a:lnTo>
                    <a:lnTo>
                      <a:pt x="577" y="813"/>
                    </a:lnTo>
                    <a:lnTo>
                      <a:pt x="560" y="818"/>
                    </a:lnTo>
                    <a:lnTo>
                      <a:pt x="543" y="822"/>
                    </a:lnTo>
                    <a:lnTo>
                      <a:pt x="525" y="826"/>
                    </a:lnTo>
                    <a:lnTo>
                      <a:pt x="507" y="828"/>
                    </a:lnTo>
                    <a:lnTo>
                      <a:pt x="489" y="829"/>
                    </a:lnTo>
                    <a:lnTo>
                      <a:pt x="471" y="829"/>
                    </a:lnTo>
                    <a:lnTo>
                      <a:pt x="453" y="829"/>
                    </a:lnTo>
                    <a:lnTo>
                      <a:pt x="434" y="828"/>
                    </a:lnTo>
                    <a:lnTo>
                      <a:pt x="417" y="826"/>
                    </a:lnTo>
                    <a:lnTo>
                      <a:pt x="399" y="822"/>
                    </a:lnTo>
                    <a:lnTo>
                      <a:pt x="382" y="818"/>
                    </a:lnTo>
                    <a:lnTo>
                      <a:pt x="365" y="813"/>
                    </a:lnTo>
                    <a:lnTo>
                      <a:pt x="348" y="808"/>
                    </a:lnTo>
                    <a:lnTo>
                      <a:pt x="331" y="801"/>
                    </a:lnTo>
                    <a:lnTo>
                      <a:pt x="315" y="794"/>
                    </a:lnTo>
                    <a:lnTo>
                      <a:pt x="300" y="786"/>
                    </a:lnTo>
                    <a:lnTo>
                      <a:pt x="285" y="777"/>
                    </a:lnTo>
                    <a:lnTo>
                      <a:pt x="270" y="768"/>
                    </a:lnTo>
                    <a:lnTo>
                      <a:pt x="256" y="758"/>
                    </a:lnTo>
                    <a:lnTo>
                      <a:pt x="243" y="748"/>
                    </a:lnTo>
                    <a:lnTo>
                      <a:pt x="229" y="736"/>
                    </a:lnTo>
                    <a:lnTo>
                      <a:pt x="217" y="724"/>
                    </a:lnTo>
                    <a:lnTo>
                      <a:pt x="206" y="712"/>
                    </a:lnTo>
                    <a:lnTo>
                      <a:pt x="194" y="699"/>
                    </a:lnTo>
                    <a:lnTo>
                      <a:pt x="183" y="686"/>
                    </a:lnTo>
                    <a:lnTo>
                      <a:pt x="174" y="671"/>
                    </a:lnTo>
                    <a:lnTo>
                      <a:pt x="164" y="656"/>
                    </a:lnTo>
                    <a:lnTo>
                      <a:pt x="156" y="642"/>
                    </a:lnTo>
                    <a:lnTo>
                      <a:pt x="148" y="626"/>
                    </a:lnTo>
                    <a:lnTo>
                      <a:pt x="140" y="610"/>
                    </a:lnTo>
                    <a:lnTo>
                      <a:pt x="134" y="594"/>
                    </a:lnTo>
                    <a:lnTo>
                      <a:pt x="129" y="577"/>
                    </a:lnTo>
                    <a:lnTo>
                      <a:pt x="123" y="560"/>
                    </a:lnTo>
                    <a:lnTo>
                      <a:pt x="120" y="543"/>
                    </a:lnTo>
                    <a:lnTo>
                      <a:pt x="116" y="525"/>
                    </a:lnTo>
                    <a:lnTo>
                      <a:pt x="114" y="507"/>
                    </a:lnTo>
                    <a:lnTo>
                      <a:pt x="113" y="489"/>
                    </a:lnTo>
                    <a:lnTo>
                      <a:pt x="112" y="471"/>
                    </a:lnTo>
                    <a:lnTo>
                      <a:pt x="113" y="452"/>
                    </a:lnTo>
                    <a:lnTo>
                      <a:pt x="114" y="434"/>
                    </a:lnTo>
                    <a:lnTo>
                      <a:pt x="116" y="416"/>
                    </a:lnTo>
                    <a:lnTo>
                      <a:pt x="120" y="399"/>
                    </a:lnTo>
                    <a:lnTo>
                      <a:pt x="123" y="381"/>
                    </a:lnTo>
                    <a:lnTo>
                      <a:pt x="129" y="364"/>
                    </a:lnTo>
                    <a:lnTo>
                      <a:pt x="134" y="347"/>
                    </a:lnTo>
                    <a:lnTo>
                      <a:pt x="140" y="331"/>
                    </a:lnTo>
                    <a:lnTo>
                      <a:pt x="148" y="315"/>
                    </a:lnTo>
                    <a:lnTo>
                      <a:pt x="156" y="299"/>
                    </a:lnTo>
                    <a:lnTo>
                      <a:pt x="164" y="285"/>
                    </a:lnTo>
                    <a:lnTo>
                      <a:pt x="174" y="270"/>
                    </a:lnTo>
                    <a:lnTo>
                      <a:pt x="183" y="256"/>
                    </a:lnTo>
                    <a:lnTo>
                      <a:pt x="194" y="243"/>
                    </a:lnTo>
                    <a:lnTo>
                      <a:pt x="206" y="229"/>
                    </a:lnTo>
                    <a:lnTo>
                      <a:pt x="217" y="217"/>
                    </a:lnTo>
                    <a:lnTo>
                      <a:pt x="229" y="206"/>
                    </a:lnTo>
                    <a:lnTo>
                      <a:pt x="243" y="194"/>
                    </a:lnTo>
                    <a:lnTo>
                      <a:pt x="256" y="183"/>
                    </a:lnTo>
                    <a:lnTo>
                      <a:pt x="270" y="173"/>
                    </a:lnTo>
                    <a:lnTo>
                      <a:pt x="285" y="164"/>
                    </a:lnTo>
                    <a:lnTo>
                      <a:pt x="300" y="155"/>
                    </a:lnTo>
                    <a:lnTo>
                      <a:pt x="315" y="147"/>
                    </a:lnTo>
                    <a:lnTo>
                      <a:pt x="331" y="140"/>
                    </a:lnTo>
                    <a:lnTo>
                      <a:pt x="348" y="133"/>
                    </a:lnTo>
                    <a:lnTo>
                      <a:pt x="365" y="128"/>
                    </a:lnTo>
                    <a:lnTo>
                      <a:pt x="382" y="123"/>
                    </a:lnTo>
                    <a:lnTo>
                      <a:pt x="399" y="119"/>
                    </a:lnTo>
                    <a:lnTo>
                      <a:pt x="417" y="116"/>
                    </a:lnTo>
                    <a:lnTo>
                      <a:pt x="434" y="114"/>
                    </a:lnTo>
                    <a:lnTo>
                      <a:pt x="453" y="112"/>
                    </a:lnTo>
                    <a:lnTo>
                      <a:pt x="471" y="112"/>
                    </a:lnTo>
                    <a:close/>
                  </a:path>
                </a:pathLst>
              </a:custGeom>
              <a:solidFill>
                <a:srgbClr val="0D65AC"/>
              </a:solidFill>
              <a:ln w="3175">
                <a:noFill/>
                <a:round/>
                <a:headEnd/>
                <a:tailEnd/>
              </a:ln>
              <a:effectLst>
                <a:innerShdw dist="38100" dir="5400000">
                  <a:prstClr val="black">
                    <a:alpha val="20000"/>
                  </a:prstClr>
                </a:innerShdw>
              </a:effectLst>
              <a:extLst/>
            </p:spPr>
            <p:txBody>
              <a:bodyPr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200">
                  <a:latin typeface="+mj-lt"/>
                </a:endParaRPr>
              </a:p>
            </p:txBody>
          </p:sp>
          <p:sp>
            <p:nvSpPr>
              <p:cNvPr id="29" name="Freeform 171"/>
              <p:cNvSpPr>
                <a:spLocks/>
              </p:cNvSpPr>
              <p:nvPr/>
            </p:nvSpPr>
            <p:spPr bwMode="auto">
              <a:xfrm>
                <a:off x="677863" y="2493963"/>
                <a:ext cx="93663" cy="138113"/>
              </a:xfrm>
              <a:custGeom>
                <a:avLst/>
                <a:gdLst>
                  <a:gd name="T0" fmla="*/ 279 w 294"/>
                  <a:gd name="T1" fmla="*/ 0 h 433"/>
                  <a:gd name="T2" fmla="*/ 287 w 294"/>
                  <a:gd name="T3" fmla="*/ 22 h 433"/>
                  <a:gd name="T4" fmla="*/ 294 w 294"/>
                  <a:gd name="T5" fmla="*/ 44 h 433"/>
                  <a:gd name="T6" fmla="*/ 279 w 294"/>
                  <a:gd name="T7" fmla="*/ 44 h 433"/>
                  <a:gd name="T8" fmla="*/ 255 w 294"/>
                  <a:gd name="T9" fmla="*/ 46 h 433"/>
                  <a:gd name="T10" fmla="*/ 232 w 294"/>
                  <a:gd name="T11" fmla="*/ 49 h 433"/>
                  <a:gd name="T12" fmla="*/ 209 w 294"/>
                  <a:gd name="T13" fmla="*/ 55 h 433"/>
                  <a:gd name="T14" fmla="*/ 188 w 294"/>
                  <a:gd name="T15" fmla="*/ 63 h 433"/>
                  <a:gd name="T16" fmla="*/ 147 w 294"/>
                  <a:gd name="T17" fmla="*/ 85 h 433"/>
                  <a:gd name="T18" fmla="*/ 113 w 294"/>
                  <a:gd name="T19" fmla="*/ 113 h 433"/>
                  <a:gd name="T20" fmla="*/ 84 w 294"/>
                  <a:gd name="T21" fmla="*/ 148 h 433"/>
                  <a:gd name="T22" fmla="*/ 62 w 294"/>
                  <a:gd name="T23" fmla="*/ 188 h 433"/>
                  <a:gd name="T24" fmla="*/ 54 w 294"/>
                  <a:gd name="T25" fmla="*/ 209 h 433"/>
                  <a:gd name="T26" fmla="*/ 49 w 294"/>
                  <a:gd name="T27" fmla="*/ 232 h 433"/>
                  <a:gd name="T28" fmla="*/ 45 w 294"/>
                  <a:gd name="T29" fmla="*/ 256 h 433"/>
                  <a:gd name="T30" fmla="*/ 44 w 294"/>
                  <a:gd name="T31" fmla="*/ 279 h 433"/>
                  <a:gd name="T32" fmla="*/ 47 w 294"/>
                  <a:gd name="T33" fmla="*/ 319 h 433"/>
                  <a:gd name="T34" fmla="*/ 57 w 294"/>
                  <a:gd name="T35" fmla="*/ 355 h 433"/>
                  <a:gd name="T36" fmla="*/ 71 w 294"/>
                  <a:gd name="T37" fmla="*/ 390 h 433"/>
                  <a:gd name="T38" fmla="*/ 91 w 294"/>
                  <a:gd name="T39" fmla="*/ 421 h 433"/>
                  <a:gd name="T40" fmla="*/ 69 w 294"/>
                  <a:gd name="T41" fmla="*/ 427 h 433"/>
                  <a:gd name="T42" fmla="*/ 45 w 294"/>
                  <a:gd name="T43" fmla="*/ 433 h 433"/>
                  <a:gd name="T44" fmla="*/ 26 w 294"/>
                  <a:gd name="T45" fmla="*/ 398 h 433"/>
                  <a:gd name="T46" fmla="*/ 12 w 294"/>
                  <a:gd name="T47" fmla="*/ 361 h 433"/>
                  <a:gd name="T48" fmla="*/ 3 w 294"/>
                  <a:gd name="T49" fmla="*/ 321 h 433"/>
                  <a:gd name="T50" fmla="*/ 0 w 294"/>
                  <a:gd name="T51" fmla="*/ 279 h 433"/>
                  <a:gd name="T52" fmla="*/ 1 w 294"/>
                  <a:gd name="T53" fmla="*/ 251 h 433"/>
                  <a:gd name="T54" fmla="*/ 6 w 294"/>
                  <a:gd name="T55" fmla="*/ 223 h 433"/>
                  <a:gd name="T56" fmla="*/ 13 w 294"/>
                  <a:gd name="T57" fmla="*/ 197 h 433"/>
                  <a:gd name="T58" fmla="*/ 22 w 294"/>
                  <a:gd name="T59" fmla="*/ 171 h 433"/>
                  <a:gd name="T60" fmla="*/ 34 w 294"/>
                  <a:gd name="T61" fmla="*/ 146 h 433"/>
                  <a:gd name="T62" fmla="*/ 48 w 294"/>
                  <a:gd name="T63" fmla="*/ 124 h 433"/>
                  <a:gd name="T64" fmla="*/ 63 w 294"/>
                  <a:gd name="T65" fmla="*/ 102 h 433"/>
                  <a:gd name="T66" fmla="*/ 82 w 294"/>
                  <a:gd name="T67" fmla="*/ 82 h 433"/>
                  <a:gd name="T68" fmla="*/ 102 w 294"/>
                  <a:gd name="T69" fmla="*/ 65 h 433"/>
                  <a:gd name="T70" fmla="*/ 123 w 294"/>
                  <a:gd name="T71" fmla="*/ 48 h 433"/>
                  <a:gd name="T72" fmla="*/ 146 w 294"/>
                  <a:gd name="T73" fmla="*/ 34 h 433"/>
                  <a:gd name="T74" fmla="*/ 171 w 294"/>
                  <a:gd name="T75" fmla="*/ 23 h 433"/>
                  <a:gd name="T76" fmla="*/ 196 w 294"/>
                  <a:gd name="T77" fmla="*/ 13 h 433"/>
                  <a:gd name="T78" fmla="*/ 223 w 294"/>
                  <a:gd name="T79" fmla="*/ 6 h 433"/>
                  <a:gd name="T80" fmla="*/ 251 w 294"/>
                  <a:gd name="T81" fmla="*/ 2 h 433"/>
                  <a:gd name="T82" fmla="*/ 279 w 294"/>
                  <a:gd name="T83" fmla="*/ 0 h 4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94" h="433">
                    <a:moveTo>
                      <a:pt x="279" y="0"/>
                    </a:moveTo>
                    <a:lnTo>
                      <a:pt x="279" y="0"/>
                    </a:lnTo>
                    <a:lnTo>
                      <a:pt x="284" y="12"/>
                    </a:lnTo>
                    <a:lnTo>
                      <a:pt x="287" y="22"/>
                    </a:lnTo>
                    <a:lnTo>
                      <a:pt x="290" y="33"/>
                    </a:lnTo>
                    <a:lnTo>
                      <a:pt x="294" y="44"/>
                    </a:lnTo>
                    <a:lnTo>
                      <a:pt x="286" y="44"/>
                    </a:lnTo>
                    <a:lnTo>
                      <a:pt x="279" y="44"/>
                    </a:lnTo>
                    <a:lnTo>
                      <a:pt x="267" y="44"/>
                    </a:lnTo>
                    <a:lnTo>
                      <a:pt x="255" y="46"/>
                    </a:lnTo>
                    <a:lnTo>
                      <a:pt x="243" y="47"/>
                    </a:lnTo>
                    <a:lnTo>
                      <a:pt x="232" y="49"/>
                    </a:lnTo>
                    <a:lnTo>
                      <a:pt x="220" y="51"/>
                    </a:lnTo>
                    <a:lnTo>
                      <a:pt x="209" y="55"/>
                    </a:lnTo>
                    <a:lnTo>
                      <a:pt x="198" y="59"/>
                    </a:lnTo>
                    <a:lnTo>
                      <a:pt x="188" y="63"/>
                    </a:lnTo>
                    <a:lnTo>
                      <a:pt x="167" y="73"/>
                    </a:lnTo>
                    <a:lnTo>
                      <a:pt x="147" y="85"/>
                    </a:lnTo>
                    <a:lnTo>
                      <a:pt x="129" y="98"/>
                    </a:lnTo>
                    <a:lnTo>
                      <a:pt x="113" y="113"/>
                    </a:lnTo>
                    <a:lnTo>
                      <a:pt x="97" y="130"/>
                    </a:lnTo>
                    <a:lnTo>
                      <a:pt x="84" y="148"/>
                    </a:lnTo>
                    <a:lnTo>
                      <a:pt x="73" y="168"/>
                    </a:lnTo>
                    <a:lnTo>
                      <a:pt x="62" y="188"/>
                    </a:lnTo>
                    <a:lnTo>
                      <a:pt x="58" y="199"/>
                    </a:lnTo>
                    <a:lnTo>
                      <a:pt x="54" y="209"/>
                    </a:lnTo>
                    <a:lnTo>
                      <a:pt x="51" y="221"/>
                    </a:lnTo>
                    <a:lnTo>
                      <a:pt x="49" y="232"/>
                    </a:lnTo>
                    <a:lnTo>
                      <a:pt x="47" y="244"/>
                    </a:lnTo>
                    <a:lnTo>
                      <a:pt x="45" y="256"/>
                    </a:lnTo>
                    <a:lnTo>
                      <a:pt x="44" y="268"/>
                    </a:lnTo>
                    <a:lnTo>
                      <a:pt x="44" y="279"/>
                    </a:lnTo>
                    <a:lnTo>
                      <a:pt x="44" y="300"/>
                    </a:lnTo>
                    <a:lnTo>
                      <a:pt x="47" y="319"/>
                    </a:lnTo>
                    <a:lnTo>
                      <a:pt x="51" y="337"/>
                    </a:lnTo>
                    <a:lnTo>
                      <a:pt x="57" y="355"/>
                    </a:lnTo>
                    <a:lnTo>
                      <a:pt x="62" y="373"/>
                    </a:lnTo>
                    <a:lnTo>
                      <a:pt x="71" y="390"/>
                    </a:lnTo>
                    <a:lnTo>
                      <a:pt x="80" y="406"/>
                    </a:lnTo>
                    <a:lnTo>
                      <a:pt x="91" y="421"/>
                    </a:lnTo>
                    <a:lnTo>
                      <a:pt x="79" y="424"/>
                    </a:lnTo>
                    <a:lnTo>
                      <a:pt x="69" y="427"/>
                    </a:lnTo>
                    <a:lnTo>
                      <a:pt x="58" y="431"/>
                    </a:lnTo>
                    <a:lnTo>
                      <a:pt x="45" y="433"/>
                    </a:lnTo>
                    <a:lnTo>
                      <a:pt x="35" y="416"/>
                    </a:lnTo>
                    <a:lnTo>
                      <a:pt x="26" y="398"/>
                    </a:lnTo>
                    <a:lnTo>
                      <a:pt x="18" y="380"/>
                    </a:lnTo>
                    <a:lnTo>
                      <a:pt x="12" y="361"/>
                    </a:lnTo>
                    <a:lnTo>
                      <a:pt x="7" y="341"/>
                    </a:lnTo>
                    <a:lnTo>
                      <a:pt x="3" y="321"/>
                    </a:lnTo>
                    <a:lnTo>
                      <a:pt x="0" y="301"/>
                    </a:lnTo>
                    <a:lnTo>
                      <a:pt x="0" y="279"/>
                    </a:lnTo>
                    <a:lnTo>
                      <a:pt x="0" y="266"/>
                    </a:lnTo>
                    <a:lnTo>
                      <a:pt x="1" y="251"/>
                    </a:lnTo>
                    <a:lnTo>
                      <a:pt x="4" y="238"/>
                    </a:lnTo>
                    <a:lnTo>
                      <a:pt x="6" y="223"/>
                    </a:lnTo>
                    <a:lnTo>
                      <a:pt x="8" y="209"/>
                    </a:lnTo>
                    <a:lnTo>
                      <a:pt x="13" y="197"/>
                    </a:lnTo>
                    <a:lnTo>
                      <a:pt x="17" y="183"/>
                    </a:lnTo>
                    <a:lnTo>
                      <a:pt x="22" y="171"/>
                    </a:lnTo>
                    <a:lnTo>
                      <a:pt x="27" y="159"/>
                    </a:lnTo>
                    <a:lnTo>
                      <a:pt x="34" y="146"/>
                    </a:lnTo>
                    <a:lnTo>
                      <a:pt x="40" y="135"/>
                    </a:lnTo>
                    <a:lnTo>
                      <a:pt x="48" y="124"/>
                    </a:lnTo>
                    <a:lnTo>
                      <a:pt x="56" y="112"/>
                    </a:lnTo>
                    <a:lnTo>
                      <a:pt x="63" y="102"/>
                    </a:lnTo>
                    <a:lnTo>
                      <a:pt x="73" y="92"/>
                    </a:lnTo>
                    <a:lnTo>
                      <a:pt x="82" y="82"/>
                    </a:lnTo>
                    <a:lnTo>
                      <a:pt x="92" y="73"/>
                    </a:lnTo>
                    <a:lnTo>
                      <a:pt x="102" y="65"/>
                    </a:lnTo>
                    <a:lnTo>
                      <a:pt x="112" y="56"/>
                    </a:lnTo>
                    <a:lnTo>
                      <a:pt x="123" y="48"/>
                    </a:lnTo>
                    <a:lnTo>
                      <a:pt x="135" y="41"/>
                    </a:lnTo>
                    <a:lnTo>
                      <a:pt x="146" y="34"/>
                    </a:lnTo>
                    <a:lnTo>
                      <a:pt x="158" y="28"/>
                    </a:lnTo>
                    <a:lnTo>
                      <a:pt x="171" y="23"/>
                    </a:lnTo>
                    <a:lnTo>
                      <a:pt x="183" y="17"/>
                    </a:lnTo>
                    <a:lnTo>
                      <a:pt x="196" y="13"/>
                    </a:lnTo>
                    <a:lnTo>
                      <a:pt x="209" y="9"/>
                    </a:lnTo>
                    <a:lnTo>
                      <a:pt x="223" y="6"/>
                    </a:lnTo>
                    <a:lnTo>
                      <a:pt x="236" y="4"/>
                    </a:lnTo>
                    <a:lnTo>
                      <a:pt x="251" y="2"/>
                    </a:lnTo>
                    <a:lnTo>
                      <a:pt x="264" y="0"/>
                    </a:lnTo>
                    <a:lnTo>
                      <a:pt x="27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</p:grpSp>
        <p:sp>
          <p:nvSpPr>
            <p:cNvPr id="17" name="Oval 8"/>
            <p:cNvSpPr/>
            <p:nvPr/>
          </p:nvSpPr>
          <p:spPr>
            <a:xfrm>
              <a:off x="5259267" y="2803881"/>
              <a:ext cx="1641159" cy="1641159"/>
            </a:xfrm>
            <a:prstGeom prst="ellipse">
              <a:avLst/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dirty="0"/>
            </a:p>
          </p:txBody>
        </p:sp>
      </p:grpSp>
      <p:grpSp>
        <p:nvGrpSpPr>
          <p:cNvPr id="30" name="Group 4"/>
          <p:cNvGrpSpPr/>
          <p:nvPr/>
        </p:nvGrpSpPr>
        <p:grpSpPr>
          <a:xfrm>
            <a:off x="521152" y="1737749"/>
            <a:ext cx="304800" cy="243840"/>
            <a:chOff x="990600" y="1905000"/>
            <a:chExt cx="381000" cy="3048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1" name="Oval 3"/>
            <p:cNvSpPr/>
            <p:nvPr/>
          </p:nvSpPr>
          <p:spPr>
            <a:xfrm>
              <a:off x="990600" y="1905000"/>
              <a:ext cx="304800" cy="304800"/>
            </a:xfrm>
            <a:prstGeom prst="ellipse">
              <a:avLst/>
            </a:prstGeom>
            <a:noFill/>
            <a:ln>
              <a:solidFill>
                <a:srgbClr val="0D65A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2" name="Freeform 111"/>
            <p:cNvSpPr>
              <a:spLocks/>
            </p:cNvSpPr>
            <p:nvPr/>
          </p:nvSpPr>
          <p:spPr bwMode="auto">
            <a:xfrm>
              <a:off x="1057401" y="1905000"/>
              <a:ext cx="314199" cy="244713"/>
            </a:xfrm>
            <a:custGeom>
              <a:avLst/>
              <a:gdLst>
                <a:gd name="T0" fmla="*/ 0 w 516"/>
                <a:gd name="T1" fmla="*/ 233 h 406"/>
                <a:gd name="T2" fmla="*/ 110 w 516"/>
                <a:gd name="T3" fmla="*/ 406 h 406"/>
                <a:gd name="T4" fmla="*/ 516 w 516"/>
                <a:gd name="T5" fmla="*/ 0 h 406"/>
                <a:gd name="T6" fmla="*/ 133 w 516"/>
                <a:gd name="T7" fmla="*/ 284 h 406"/>
                <a:gd name="T8" fmla="*/ 0 w 516"/>
                <a:gd name="T9" fmla="*/ 233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6" h="406">
                  <a:moveTo>
                    <a:pt x="0" y="233"/>
                  </a:moveTo>
                  <a:lnTo>
                    <a:pt x="110" y="406"/>
                  </a:lnTo>
                  <a:lnTo>
                    <a:pt x="516" y="0"/>
                  </a:lnTo>
                  <a:lnTo>
                    <a:pt x="133" y="284"/>
                  </a:lnTo>
                  <a:lnTo>
                    <a:pt x="0" y="233"/>
                  </a:lnTo>
                  <a:close/>
                </a:path>
              </a:pathLst>
            </a:custGeom>
            <a:solidFill>
              <a:srgbClr val="0D65AC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grpSp>
        <p:nvGrpSpPr>
          <p:cNvPr id="33" name="Group 36"/>
          <p:cNvGrpSpPr/>
          <p:nvPr/>
        </p:nvGrpSpPr>
        <p:grpSpPr>
          <a:xfrm>
            <a:off x="514931" y="2204069"/>
            <a:ext cx="304800" cy="243840"/>
            <a:chOff x="990600" y="1905000"/>
            <a:chExt cx="381000" cy="3048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4" name="Oval 37"/>
            <p:cNvSpPr/>
            <p:nvPr/>
          </p:nvSpPr>
          <p:spPr>
            <a:xfrm>
              <a:off x="990600" y="1905000"/>
              <a:ext cx="304800" cy="304800"/>
            </a:xfrm>
            <a:prstGeom prst="ellipse">
              <a:avLst/>
            </a:prstGeom>
            <a:noFill/>
            <a:ln>
              <a:solidFill>
                <a:srgbClr val="CE20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5" name="Freeform 111"/>
            <p:cNvSpPr>
              <a:spLocks/>
            </p:cNvSpPr>
            <p:nvPr/>
          </p:nvSpPr>
          <p:spPr bwMode="auto">
            <a:xfrm>
              <a:off x="1057401" y="1905000"/>
              <a:ext cx="314199" cy="244713"/>
            </a:xfrm>
            <a:custGeom>
              <a:avLst/>
              <a:gdLst>
                <a:gd name="T0" fmla="*/ 0 w 516"/>
                <a:gd name="T1" fmla="*/ 233 h 406"/>
                <a:gd name="T2" fmla="*/ 110 w 516"/>
                <a:gd name="T3" fmla="*/ 406 h 406"/>
                <a:gd name="T4" fmla="*/ 516 w 516"/>
                <a:gd name="T5" fmla="*/ 0 h 406"/>
                <a:gd name="T6" fmla="*/ 133 w 516"/>
                <a:gd name="T7" fmla="*/ 284 h 406"/>
                <a:gd name="T8" fmla="*/ 0 w 516"/>
                <a:gd name="T9" fmla="*/ 233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6" h="406">
                  <a:moveTo>
                    <a:pt x="0" y="233"/>
                  </a:moveTo>
                  <a:lnTo>
                    <a:pt x="110" y="406"/>
                  </a:lnTo>
                  <a:lnTo>
                    <a:pt x="516" y="0"/>
                  </a:lnTo>
                  <a:lnTo>
                    <a:pt x="133" y="284"/>
                  </a:lnTo>
                  <a:lnTo>
                    <a:pt x="0" y="233"/>
                  </a:lnTo>
                  <a:close/>
                </a:path>
              </a:pathLst>
            </a:custGeom>
            <a:solidFill>
              <a:srgbClr val="CE202A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grpSp>
        <p:nvGrpSpPr>
          <p:cNvPr id="36" name="Group 50"/>
          <p:cNvGrpSpPr/>
          <p:nvPr/>
        </p:nvGrpSpPr>
        <p:grpSpPr>
          <a:xfrm>
            <a:off x="516732" y="2680990"/>
            <a:ext cx="304800" cy="243840"/>
            <a:chOff x="990600" y="1905000"/>
            <a:chExt cx="381000" cy="3048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7" name="Oval 52"/>
            <p:cNvSpPr/>
            <p:nvPr/>
          </p:nvSpPr>
          <p:spPr>
            <a:xfrm>
              <a:off x="990600" y="1905000"/>
              <a:ext cx="304800" cy="304800"/>
            </a:xfrm>
            <a:prstGeom prst="ellipse">
              <a:avLst/>
            </a:prstGeom>
            <a:noFill/>
            <a:ln>
              <a:solidFill>
                <a:srgbClr val="F0B71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8" name="Freeform 111"/>
            <p:cNvSpPr>
              <a:spLocks/>
            </p:cNvSpPr>
            <p:nvPr/>
          </p:nvSpPr>
          <p:spPr bwMode="auto">
            <a:xfrm>
              <a:off x="1057401" y="1905000"/>
              <a:ext cx="314199" cy="244713"/>
            </a:xfrm>
            <a:custGeom>
              <a:avLst/>
              <a:gdLst>
                <a:gd name="T0" fmla="*/ 0 w 516"/>
                <a:gd name="T1" fmla="*/ 233 h 406"/>
                <a:gd name="T2" fmla="*/ 110 w 516"/>
                <a:gd name="T3" fmla="*/ 406 h 406"/>
                <a:gd name="T4" fmla="*/ 516 w 516"/>
                <a:gd name="T5" fmla="*/ 0 h 406"/>
                <a:gd name="T6" fmla="*/ 133 w 516"/>
                <a:gd name="T7" fmla="*/ 284 h 406"/>
                <a:gd name="T8" fmla="*/ 0 w 516"/>
                <a:gd name="T9" fmla="*/ 233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6" h="406">
                  <a:moveTo>
                    <a:pt x="0" y="233"/>
                  </a:moveTo>
                  <a:lnTo>
                    <a:pt x="110" y="406"/>
                  </a:lnTo>
                  <a:lnTo>
                    <a:pt x="516" y="0"/>
                  </a:lnTo>
                  <a:lnTo>
                    <a:pt x="133" y="284"/>
                  </a:lnTo>
                  <a:lnTo>
                    <a:pt x="0" y="233"/>
                  </a:lnTo>
                  <a:close/>
                </a:path>
              </a:pathLst>
            </a:custGeom>
            <a:solidFill>
              <a:srgbClr val="F0B71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sp>
        <p:nvSpPr>
          <p:cNvPr id="11" name="TextBox 10"/>
          <p:cNvSpPr txBox="1"/>
          <p:nvPr/>
        </p:nvSpPr>
        <p:spPr>
          <a:xfrm>
            <a:off x="1076593" y="614427"/>
            <a:ext cx="7585412" cy="3754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300" dirty="0" smtClean="0">
                <a:solidFill>
                  <a:schemeClr val="accent1">
                    <a:lumMod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쇄신과제 ⑧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정보화 </a:t>
            </a: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촉진과 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정보 보안</a:t>
            </a:r>
            <a:r>
              <a:rPr lang="en-US" altLang="ko-KR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호 강화</a:t>
            </a:r>
            <a:endParaRPr lang="en-US" sz="230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93023" y="1531515"/>
            <a:ext cx="8326308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20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보건의료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복지분야 「정보화」가 업무추진체계의 관건적 변수</a:t>
            </a:r>
            <a:endParaRPr lang="en-US" altLang="ko-KR" sz="16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fontAlgn="base">
              <a:lnSpc>
                <a:spcPct val="200000"/>
              </a:lnSpc>
            </a:pPr>
            <a:r>
              <a:rPr lang="ko-KR" altLang="en-US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    </a:t>
            </a:r>
            <a:r>
              <a:rPr lang="ko-KR" altLang="en-US" sz="16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빅데이터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활용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상당부분 업무수행체계 강화 추진</a:t>
            </a:r>
            <a:endParaRPr lang="en-US" altLang="ko-KR" sz="16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fontAlgn="base">
              <a:lnSpc>
                <a:spcPct val="200000"/>
              </a:lnSpc>
            </a:pPr>
            <a:r>
              <a:rPr lang="ko-KR" altLang="en-US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   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특히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「통합 식품안전정보망」 구축사업 촉진 및 </a:t>
            </a:r>
            <a:r>
              <a:rPr lang="ko-KR" altLang="en-US" sz="16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법적근거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등 보완필요</a:t>
            </a:r>
            <a:endParaRPr lang="en-US" altLang="ko-KR" sz="16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&lt;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개선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보완 사항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&gt;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①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정보 표준체계 확립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통합시스템 구축 및 정보활용 공동시스템 등 강화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② 보건복지분야 정부부처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산하기관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민간기관 등 「맞춤형」 정보 제공 및 관리토록 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네트워크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확대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③ 정보보안 인력 증원 및 정보보안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보호체계 확립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grpSp>
        <p:nvGrpSpPr>
          <p:cNvPr id="19" name="그룹 18"/>
          <p:cNvGrpSpPr/>
          <p:nvPr/>
        </p:nvGrpSpPr>
        <p:grpSpPr>
          <a:xfrm>
            <a:off x="-8274" y="-81403"/>
            <a:ext cx="1120288" cy="1236229"/>
            <a:chOff x="-8274" y="-81403"/>
            <a:chExt cx="1120288" cy="1236229"/>
          </a:xfrm>
        </p:grpSpPr>
        <p:grpSp>
          <p:nvGrpSpPr>
            <p:cNvPr id="20" name="Group 50"/>
            <p:cNvGrpSpPr/>
            <p:nvPr/>
          </p:nvGrpSpPr>
          <p:grpSpPr>
            <a:xfrm>
              <a:off x="-1122" y="-81403"/>
              <a:ext cx="1113136" cy="1236229"/>
              <a:chOff x="-9097" y="-96310"/>
              <a:chExt cx="974935" cy="1025474"/>
            </a:xfrm>
          </p:grpSpPr>
          <p:sp>
            <p:nvSpPr>
              <p:cNvPr id="22" name="Diagonal Stripe 51"/>
              <p:cNvSpPr/>
              <p:nvPr/>
            </p:nvSpPr>
            <p:spPr>
              <a:xfrm>
                <a:off x="-7091" y="-23336"/>
                <a:ext cx="972929" cy="952500"/>
              </a:xfrm>
              <a:prstGeom prst="diagStripe">
                <a:avLst>
                  <a:gd name="adj" fmla="val 61073"/>
                </a:avLst>
              </a:pr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127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TextBox 22"/>
              <p:cNvSpPr txBox="1"/>
              <p:nvPr/>
            </p:nvSpPr>
            <p:spPr>
              <a:xfrm rot="18886281">
                <a:off x="58852" y="187690"/>
                <a:ext cx="770174" cy="202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7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국회의원</a:t>
                </a:r>
                <a:r>
                  <a:rPr lang="ko-KR" altLang="en-US" sz="900" dirty="0" smtClean="0">
                    <a:solidFill>
                      <a:srgbClr val="1D4B6D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 이명수</a:t>
                </a:r>
                <a:endParaRPr lang="en-US" sz="900" dirty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cxnSp>
            <p:nvCxnSpPr>
              <p:cNvPr id="24" name="Straight Connector 53"/>
              <p:cNvCxnSpPr/>
              <p:nvPr/>
            </p:nvCxnSpPr>
            <p:spPr>
              <a:xfrm flipH="1">
                <a:off x="-9097" y="-22860"/>
                <a:ext cx="623270" cy="623272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54"/>
              <p:cNvCxnSpPr/>
              <p:nvPr/>
            </p:nvCxnSpPr>
            <p:spPr>
              <a:xfrm flipH="1">
                <a:off x="-7091" y="-22860"/>
                <a:ext cx="921493" cy="893213"/>
              </a:xfrm>
              <a:prstGeom prst="line">
                <a:avLst/>
              </a:prstGeom>
              <a:ln w="6350">
                <a:solidFill>
                  <a:srgbClr val="3692D4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21" name="그림 2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66808">
              <a:off x="-8274" y="724510"/>
              <a:ext cx="252257" cy="120873"/>
            </a:xfrm>
            <a:prstGeom prst="rect">
              <a:avLst/>
            </a:prstGeom>
          </p:spPr>
        </p:pic>
      </p:grpSp>
      <p:grpSp>
        <p:nvGrpSpPr>
          <p:cNvPr id="26" name="그룹 25"/>
          <p:cNvGrpSpPr/>
          <p:nvPr/>
        </p:nvGrpSpPr>
        <p:grpSpPr>
          <a:xfrm>
            <a:off x="1076593" y="555050"/>
            <a:ext cx="433997" cy="433997"/>
            <a:chOff x="1053286" y="515021"/>
            <a:chExt cx="433997" cy="433997"/>
          </a:xfrm>
        </p:grpSpPr>
        <p:sp>
          <p:nvSpPr>
            <p:cNvPr id="27" name="Oval 45"/>
            <p:cNvSpPr/>
            <p:nvPr/>
          </p:nvSpPr>
          <p:spPr>
            <a:xfrm>
              <a:off x="1053286" y="515021"/>
              <a:ext cx="433997" cy="433997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Freeform 13"/>
            <p:cNvSpPr>
              <a:spLocks noEditPoints="1"/>
            </p:cNvSpPr>
            <p:nvPr/>
          </p:nvSpPr>
          <p:spPr bwMode="auto">
            <a:xfrm rot="10585247" flipV="1">
              <a:off x="1160800" y="600128"/>
              <a:ext cx="218969" cy="263783"/>
            </a:xfrm>
            <a:custGeom>
              <a:avLst/>
              <a:gdLst>
                <a:gd name="T0" fmla="*/ 2022 w 2403"/>
                <a:gd name="T1" fmla="*/ 144 h 2897"/>
                <a:gd name="T2" fmla="*/ 1852 w 2403"/>
                <a:gd name="T3" fmla="*/ 57 h 2897"/>
                <a:gd name="T4" fmla="*/ 1632 w 2403"/>
                <a:gd name="T5" fmla="*/ 1 h 2897"/>
                <a:gd name="T6" fmla="*/ 1548 w 2403"/>
                <a:gd name="T7" fmla="*/ 2 h 2897"/>
                <a:gd name="T8" fmla="*/ 1491 w 2403"/>
                <a:gd name="T9" fmla="*/ 23 h 2897"/>
                <a:gd name="T10" fmla="*/ 785 w 2403"/>
                <a:gd name="T11" fmla="*/ 948 h 2897"/>
                <a:gd name="T12" fmla="*/ 48 w 2403"/>
                <a:gd name="T13" fmla="*/ 1933 h 2897"/>
                <a:gd name="T14" fmla="*/ 30 w 2403"/>
                <a:gd name="T15" fmla="*/ 1995 h 2897"/>
                <a:gd name="T16" fmla="*/ 3 w 2403"/>
                <a:gd name="T17" fmla="*/ 2340 h 2897"/>
                <a:gd name="T18" fmla="*/ 7 w 2403"/>
                <a:gd name="T19" fmla="*/ 2732 h 2897"/>
                <a:gd name="T20" fmla="*/ 27 w 2403"/>
                <a:gd name="T21" fmla="*/ 2871 h 2897"/>
                <a:gd name="T22" fmla="*/ 42 w 2403"/>
                <a:gd name="T23" fmla="*/ 2891 h 2897"/>
                <a:gd name="T24" fmla="*/ 118 w 2403"/>
                <a:gd name="T25" fmla="*/ 2896 h 2897"/>
                <a:gd name="T26" fmla="*/ 340 w 2403"/>
                <a:gd name="T27" fmla="*/ 2850 h 2897"/>
                <a:gd name="T28" fmla="*/ 724 w 2403"/>
                <a:gd name="T29" fmla="*/ 2722 h 2897"/>
                <a:gd name="T30" fmla="*/ 926 w 2403"/>
                <a:gd name="T31" fmla="*/ 2628 h 2897"/>
                <a:gd name="T32" fmla="*/ 987 w 2403"/>
                <a:gd name="T33" fmla="*/ 2578 h 2897"/>
                <a:gd name="T34" fmla="*/ 1454 w 2403"/>
                <a:gd name="T35" fmla="*/ 1961 h 2897"/>
                <a:gd name="T36" fmla="*/ 2390 w 2403"/>
                <a:gd name="T37" fmla="*/ 675 h 2897"/>
                <a:gd name="T38" fmla="*/ 2403 w 2403"/>
                <a:gd name="T39" fmla="*/ 631 h 2897"/>
                <a:gd name="T40" fmla="*/ 2392 w 2403"/>
                <a:gd name="T41" fmla="*/ 562 h 2897"/>
                <a:gd name="T42" fmla="*/ 2334 w 2403"/>
                <a:gd name="T43" fmla="*/ 447 h 2897"/>
                <a:gd name="T44" fmla="*/ 2193 w 2403"/>
                <a:gd name="T45" fmla="*/ 279 h 2897"/>
                <a:gd name="T46" fmla="*/ 1398 w 2403"/>
                <a:gd name="T47" fmla="*/ 308 h 2897"/>
                <a:gd name="T48" fmla="*/ 1421 w 2403"/>
                <a:gd name="T49" fmla="*/ 290 h 2897"/>
                <a:gd name="T50" fmla="*/ 1468 w 2403"/>
                <a:gd name="T51" fmla="*/ 287 h 2897"/>
                <a:gd name="T52" fmla="*/ 1528 w 2403"/>
                <a:gd name="T53" fmla="*/ 313 h 2897"/>
                <a:gd name="T54" fmla="*/ 1580 w 2403"/>
                <a:gd name="T55" fmla="*/ 368 h 2897"/>
                <a:gd name="T56" fmla="*/ 1587 w 2403"/>
                <a:gd name="T57" fmla="*/ 409 h 2897"/>
                <a:gd name="T58" fmla="*/ 337 w 2403"/>
                <a:gd name="T59" fmla="*/ 1902 h 2897"/>
                <a:gd name="T60" fmla="*/ 473 w 2403"/>
                <a:gd name="T61" fmla="*/ 2660 h 2897"/>
                <a:gd name="T62" fmla="*/ 364 w 2403"/>
                <a:gd name="T63" fmla="*/ 2709 h 2897"/>
                <a:gd name="T64" fmla="*/ 169 w 2403"/>
                <a:gd name="T65" fmla="*/ 2764 h 2897"/>
                <a:gd name="T66" fmla="*/ 134 w 2403"/>
                <a:gd name="T67" fmla="*/ 2763 h 2897"/>
                <a:gd name="T68" fmla="*/ 125 w 2403"/>
                <a:gd name="T69" fmla="*/ 2643 h 2897"/>
                <a:gd name="T70" fmla="*/ 137 w 2403"/>
                <a:gd name="T71" fmla="*/ 2423 h 2897"/>
                <a:gd name="T72" fmla="*/ 151 w 2403"/>
                <a:gd name="T73" fmla="*/ 2404 h 2897"/>
                <a:gd name="T74" fmla="*/ 206 w 2403"/>
                <a:gd name="T75" fmla="*/ 2409 h 2897"/>
                <a:gd name="T76" fmla="*/ 355 w 2403"/>
                <a:gd name="T77" fmla="*/ 2486 h 2897"/>
                <a:gd name="T78" fmla="*/ 454 w 2403"/>
                <a:gd name="T79" fmla="*/ 2577 h 2897"/>
                <a:gd name="T80" fmla="*/ 480 w 2403"/>
                <a:gd name="T81" fmla="*/ 2630 h 2897"/>
                <a:gd name="T82" fmla="*/ 490 w 2403"/>
                <a:gd name="T83" fmla="*/ 2117 h 2897"/>
                <a:gd name="T84" fmla="*/ 1708 w 2403"/>
                <a:gd name="T85" fmla="*/ 446 h 2897"/>
                <a:gd name="T86" fmla="*/ 1748 w 2403"/>
                <a:gd name="T87" fmla="*/ 445 h 2897"/>
                <a:gd name="T88" fmla="*/ 1821 w 2403"/>
                <a:gd name="T89" fmla="*/ 478 h 2897"/>
                <a:gd name="T90" fmla="*/ 1867 w 2403"/>
                <a:gd name="T91" fmla="*/ 520 h 2897"/>
                <a:gd name="T92" fmla="*/ 1888 w 2403"/>
                <a:gd name="T93" fmla="*/ 565 h 2897"/>
                <a:gd name="T94" fmla="*/ 624 w 2403"/>
                <a:gd name="T95" fmla="*/ 2291 h 2897"/>
                <a:gd name="T96" fmla="*/ 902 w 2403"/>
                <a:gd name="T97" fmla="*/ 2386 h 2897"/>
                <a:gd name="T98" fmla="*/ 1979 w 2403"/>
                <a:gd name="T99" fmla="*/ 672 h 2897"/>
                <a:gd name="T100" fmla="*/ 2014 w 2403"/>
                <a:gd name="T101" fmla="*/ 670 h 2897"/>
                <a:gd name="T102" fmla="*/ 2067 w 2403"/>
                <a:gd name="T103" fmla="*/ 704 h 2897"/>
                <a:gd name="T104" fmla="*/ 2108 w 2403"/>
                <a:gd name="T105" fmla="*/ 754 h 2897"/>
                <a:gd name="T106" fmla="*/ 2123 w 2403"/>
                <a:gd name="T107" fmla="*/ 801 h 2897"/>
                <a:gd name="T108" fmla="*/ 2117 w 2403"/>
                <a:gd name="T109" fmla="*/ 835 h 2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403" h="2897">
                  <a:moveTo>
                    <a:pt x="2095" y="193"/>
                  </a:moveTo>
                  <a:lnTo>
                    <a:pt x="2095" y="193"/>
                  </a:lnTo>
                  <a:lnTo>
                    <a:pt x="2071" y="176"/>
                  </a:lnTo>
                  <a:lnTo>
                    <a:pt x="2046" y="159"/>
                  </a:lnTo>
                  <a:lnTo>
                    <a:pt x="2022" y="144"/>
                  </a:lnTo>
                  <a:lnTo>
                    <a:pt x="1998" y="129"/>
                  </a:lnTo>
                  <a:lnTo>
                    <a:pt x="1974" y="115"/>
                  </a:lnTo>
                  <a:lnTo>
                    <a:pt x="1948" y="101"/>
                  </a:lnTo>
                  <a:lnTo>
                    <a:pt x="1900" y="78"/>
                  </a:lnTo>
                  <a:lnTo>
                    <a:pt x="1852" y="57"/>
                  </a:lnTo>
                  <a:lnTo>
                    <a:pt x="1803" y="40"/>
                  </a:lnTo>
                  <a:lnTo>
                    <a:pt x="1757" y="25"/>
                  </a:lnTo>
                  <a:lnTo>
                    <a:pt x="1714" y="14"/>
                  </a:lnTo>
                  <a:lnTo>
                    <a:pt x="1671" y="6"/>
                  </a:lnTo>
                  <a:lnTo>
                    <a:pt x="1632" y="1"/>
                  </a:lnTo>
                  <a:lnTo>
                    <a:pt x="1613" y="0"/>
                  </a:lnTo>
                  <a:lnTo>
                    <a:pt x="1595" y="0"/>
                  </a:lnTo>
                  <a:lnTo>
                    <a:pt x="1580" y="0"/>
                  </a:lnTo>
                  <a:lnTo>
                    <a:pt x="1564" y="1"/>
                  </a:lnTo>
                  <a:lnTo>
                    <a:pt x="1548" y="2"/>
                  </a:lnTo>
                  <a:lnTo>
                    <a:pt x="1535" y="5"/>
                  </a:lnTo>
                  <a:lnTo>
                    <a:pt x="1521" y="8"/>
                  </a:lnTo>
                  <a:lnTo>
                    <a:pt x="1511" y="12"/>
                  </a:lnTo>
                  <a:lnTo>
                    <a:pt x="1500" y="17"/>
                  </a:lnTo>
                  <a:lnTo>
                    <a:pt x="1491" y="23"/>
                  </a:lnTo>
                  <a:lnTo>
                    <a:pt x="1484" y="29"/>
                  </a:lnTo>
                  <a:lnTo>
                    <a:pt x="1477" y="36"/>
                  </a:lnTo>
                  <a:lnTo>
                    <a:pt x="1477" y="36"/>
                  </a:lnTo>
                  <a:lnTo>
                    <a:pt x="1253" y="331"/>
                  </a:lnTo>
                  <a:lnTo>
                    <a:pt x="785" y="948"/>
                  </a:lnTo>
                  <a:lnTo>
                    <a:pt x="532" y="1283"/>
                  </a:lnTo>
                  <a:lnTo>
                    <a:pt x="304" y="1584"/>
                  </a:lnTo>
                  <a:lnTo>
                    <a:pt x="134" y="1813"/>
                  </a:lnTo>
                  <a:lnTo>
                    <a:pt x="78" y="1890"/>
                  </a:lnTo>
                  <a:lnTo>
                    <a:pt x="48" y="1933"/>
                  </a:lnTo>
                  <a:lnTo>
                    <a:pt x="48" y="1933"/>
                  </a:lnTo>
                  <a:lnTo>
                    <a:pt x="43" y="1943"/>
                  </a:lnTo>
                  <a:lnTo>
                    <a:pt x="38" y="1956"/>
                  </a:lnTo>
                  <a:lnTo>
                    <a:pt x="33" y="1974"/>
                  </a:lnTo>
                  <a:lnTo>
                    <a:pt x="30" y="1995"/>
                  </a:lnTo>
                  <a:lnTo>
                    <a:pt x="23" y="2047"/>
                  </a:lnTo>
                  <a:lnTo>
                    <a:pt x="15" y="2110"/>
                  </a:lnTo>
                  <a:lnTo>
                    <a:pt x="10" y="2181"/>
                  </a:lnTo>
                  <a:lnTo>
                    <a:pt x="6" y="2259"/>
                  </a:lnTo>
                  <a:lnTo>
                    <a:pt x="3" y="2340"/>
                  </a:lnTo>
                  <a:lnTo>
                    <a:pt x="1" y="2423"/>
                  </a:lnTo>
                  <a:lnTo>
                    <a:pt x="0" y="2507"/>
                  </a:lnTo>
                  <a:lnTo>
                    <a:pt x="1" y="2588"/>
                  </a:lnTo>
                  <a:lnTo>
                    <a:pt x="3" y="2663"/>
                  </a:lnTo>
                  <a:lnTo>
                    <a:pt x="7" y="2732"/>
                  </a:lnTo>
                  <a:lnTo>
                    <a:pt x="12" y="2790"/>
                  </a:lnTo>
                  <a:lnTo>
                    <a:pt x="15" y="2815"/>
                  </a:lnTo>
                  <a:lnTo>
                    <a:pt x="19" y="2837"/>
                  </a:lnTo>
                  <a:lnTo>
                    <a:pt x="23" y="2856"/>
                  </a:lnTo>
                  <a:lnTo>
                    <a:pt x="27" y="2871"/>
                  </a:lnTo>
                  <a:lnTo>
                    <a:pt x="32" y="2882"/>
                  </a:lnTo>
                  <a:lnTo>
                    <a:pt x="35" y="2885"/>
                  </a:lnTo>
                  <a:lnTo>
                    <a:pt x="37" y="2888"/>
                  </a:lnTo>
                  <a:lnTo>
                    <a:pt x="37" y="2888"/>
                  </a:lnTo>
                  <a:lnTo>
                    <a:pt x="42" y="2891"/>
                  </a:lnTo>
                  <a:lnTo>
                    <a:pt x="47" y="2893"/>
                  </a:lnTo>
                  <a:lnTo>
                    <a:pt x="60" y="2896"/>
                  </a:lnTo>
                  <a:lnTo>
                    <a:pt x="76" y="2897"/>
                  </a:lnTo>
                  <a:lnTo>
                    <a:pt x="95" y="2897"/>
                  </a:lnTo>
                  <a:lnTo>
                    <a:pt x="118" y="2896"/>
                  </a:lnTo>
                  <a:lnTo>
                    <a:pt x="144" y="2893"/>
                  </a:lnTo>
                  <a:lnTo>
                    <a:pt x="171" y="2888"/>
                  </a:lnTo>
                  <a:lnTo>
                    <a:pt x="202" y="2883"/>
                  </a:lnTo>
                  <a:lnTo>
                    <a:pt x="267" y="2868"/>
                  </a:lnTo>
                  <a:lnTo>
                    <a:pt x="340" y="2850"/>
                  </a:lnTo>
                  <a:lnTo>
                    <a:pt x="416" y="2829"/>
                  </a:lnTo>
                  <a:lnTo>
                    <a:pt x="494" y="2804"/>
                  </a:lnTo>
                  <a:lnTo>
                    <a:pt x="573" y="2778"/>
                  </a:lnTo>
                  <a:lnTo>
                    <a:pt x="650" y="2751"/>
                  </a:lnTo>
                  <a:lnTo>
                    <a:pt x="724" y="2722"/>
                  </a:lnTo>
                  <a:lnTo>
                    <a:pt x="793" y="2694"/>
                  </a:lnTo>
                  <a:lnTo>
                    <a:pt x="854" y="2666"/>
                  </a:lnTo>
                  <a:lnTo>
                    <a:pt x="880" y="2653"/>
                  </a:lnTo>
                  <a:lnTo>
                    <a:pt x="904" y="2641"/>
                  </a:lnTo>
                  <a:lnTo>
                    <a:pt x="926" y="2628"/>
                  </a:lnTo>
                  <a:lnTo>
                    <a:pt x="946" y="2617"/>
                  </a:lnTo>
                  <a:lnTo>
                    <a:pt x="960" y="2605"/>
                  </a:lnTo>
                  <a:lnTo>
                    <a:pt x="972" y="2595"/>
                  </a:lnTo>
                  <a:lnTo>
                    <a:pt x="972" y="2595"/>
                  </a:lnTo>
                  <a:lnTo>
                    <a:pt x="987" y="2578"/>
                  </a:lnTo>
                  <a:lnTo>
                    <a:pt x="1007" y="2554"/>
                  </a:lnTo>
                  <a:lnTo>
                    <a:pt x="1064" y="2480"/>
                  </a:lnTo>
                  <a:lnTo>
                    <a:pt x="1142" y="2380"/>
                  </a:lnTo>
                  <a:lnTo>
                    <a:pt x="1234" y="2257"/>
                  </a:lnTo>
                  <a:lnTo>
                    <a:pt x="1454" y="1961"/>
                  </a:lnTo>
                  <a:lnTo>
                    <a:pt x="1697" y="1630"/>
                  </a:lnTo>
                  <a:lnTo>
                    <a:pt x="1939" y="1298"/>
                  </a:lnTo>
                  <a:lnTo>
                    <a:pt x="2153" y="1004"/>
                  </a:lnTo>
                  <a:lnTo>
                    <a:pt x="2311" y="784"/>
                  </a:lnTo>
                  <a:lnTo>
                    <a:pt x="2390" y="675"/>
                  </a:lnTo>
                  <a:lnTo>
                    <a:pt x="2390" y="675"/>
                  </a:lnTo>
                  <a:lnTo>
                    <a:pt x="2395" y="665"/>
                  </a:lnTo>
                  <a:lnTo>
                    <a:pt x="2400" y="654"/>
                  </a:lnTo>
                  <a:lnTo>
                    <a:pt x="2402" y="643"/>
                  </a:lnTo>
                  <a:lnTo>
                    <a:pt x="2403" y="631"/>
                  </a:lnTo>
                  <a:lnTo>
                    <a:pt x="2403" y="618"/>
                  </a:lnTo>
                  <a:lnTo>
                    <a:pt x="2403" y="605"/>
                  </a:lnTo>
                  <a:lnTo>
                    <a:pt x="2401" y="591"/>
                  </a:lnTo>
                  <a:lnTo>
                    <a:pt x="2397" y="577"/>
                  </a:lnTo>
                  <a:lnTo>
                    <a:pt x="2392" y="562"/>
                  </a:lnTo>
                  <a:lnTo>
                    <a:pt x="2386" y="547"/>
                  </a:lnTo>
                  <a:lnTo>
                    <a:pt x="2380" y="531"/>
                  </a:lnTo>
                  <a:lnTo>
                    <a:pt x="2373" y="514"/>
                  </a:lnTo>
                  <a:lnTo>
                    <a:pt x="2355" y="481"/>
                  </a:lnTo>
                  <a:lnTo>
                    <a:pt x="2334" y="447"/>
                  </a:lnTo>
                  <a:lnTo>
                    <a:pt x="2310" y="412"/>
                  </a:lnTo>
                  <a:lnTo>
                    <a:pt x="2284" y="378"/>
                  </a:lnTo>
                  <a:lnTo>
                    <a:pt x="2255" y="345"/>
                  </a:lnTo>
                  <a:lnTo>
                    <a:pt x="2226" y="311"/>
                  </a:lnTo>
                  <a:lnTo>
                    <a:pt x="2193" y="279"/>
                  </a:lnTo>
                  <a:lnTo>
                    <a:pt x="2161" y="248"/>
                  </a:lnTo>
                  <a:lnTo>
                    <a:pt x="2128" y="220"/>
                  </a:lnTo>
                  <a:lnTo>
                    <a:pt x="2095" y="193"/>
                  </a:lnTo>
                  <a:lnTo>
                    <a:pt x="2095" y="193"/>
                  </a:lnTo>
                  <a:close/>
                  <a:moveTo>
                    <a:pt x="1398" y="308"/>
                  </a:moveTo>
                  <a:lnTo>
                    <a:pt x="1398" y="308"/>
                  </a:lnTo>
                  <a:lnTo>
                    <a:pt x="1400" y="306"/>
                  </a:lnTo>
                  <a:lnTo>
                    <a:pt x="1405" y="300"/>
                  </a:lnTo>
                  <a:lnTo>
                    <a:pt x="1415" y="294"/>
                  </a:lnTo>
                  <a:lnTo>
                    <a:pt x="1421" y="290"/>
                  </a:lnTo>
                  <a:lnTo>
                    <a:pt x="1428" y="288"/>
                  </a:lnTo>
                  <a:lnTo>
                    <a:pt x="1437" y="285"/>
                  </a:lnTo>
                  <a:lnTo>
                    <a:pt x="1445" y="284"/>
                  </a:lnTo>
                  <a:lnTo>
                    <a:pt x="1456" y="284"/>
                  </a:lnTo>
                  <a:lnTo>
                    <a:pt x="1468" y="287"/>
                  </a:lnTo>
                  <a:lnTo>
                    <a:pt x="1482" y="290"/>
                  </a:lnTo>
                  <a:lnTo>
                    <a:pt x="1495" y="295"/>
                  </a:lnTo>
                  <a:lnTo>
                    <a:pt x="1511" y="303"/>
                  </a:lnTo>
                  <a:lnTo>
                    <a:pt x="1528" y="313"/>
                  </a:lnTo>
                  <a:lnTo>
                    <a:pt x="1528" y="313"/>
                  </a:lnTo>
                  <a:lnTo>
                    <a:pt x="1542" y="325"/>
                  </a:lnTo>
                  <a:lnTo>
                    <a:pt x="1555" y="336"/>
                  </a:lnTo>
                  <a:lnTo>
                    <a:pt x="1565" y="347"/>
                  </a:lnTo>
                  <a:lnTo>
                    <a:pt x="1573" y="357"/>
                  </a:lnTo>
                  <a:lnTo>
                    <a:pt x="1580" y="368"/>
                  </a:lnTo>
                  <a:lnTo>
                    <a:pt x="1583" y="376"/>
                  </a:lnTo>
                  <a:lnTo>
                    <a:pt x="1586" y="386"/>
                  </a:lnTo>
                  <a:lnTo>
                    <a:pt x="1587" y="394"/>
                  </a:lnTo>
                  <a:lnTo>
                    <a:pt x="1588" y="401"/>
                  </a:lnTo>
                  <a:lnTo>
                    <a:pt x="1587" y="409"/>
                  </a:lnTo>
                  <a:lnTo>
                    <a:pt x="1584" y="420"/>
                  </a:lnTo>
                  <a:lnTo>
                    <a:pt x="1582" y="427"/>
                  </a:lnTo>
                  <a:lnTo>
                    <a:pt x="1581" y="429"/>
                  </a:lnTo>
                  <a:lnTo>
                    <a:pt x="337" y="2076"/>
                  </a:lnTo>
                  <a:lnTo>
                    <a:pt x="337" y="1902"/>
                  </a:lnTo>
                  <a:lnTo>
                    <a:pt x="239" y="1865"/>
                  </a:lnTo>
                  <a:lnTo>
                    <a:pt x="1398" y="308"/>
                  </a:lnTo>
                  <a:close/>
                  <a:moveTo>
                    <a:pt x="475" y="2657"/>
                  </a:moveTo>
                  <a:lnTo>
                    <a:pt x="475" y="2657"/>
                  </a:lnTo>
                  <a:lnTo>
                    <a:pt x="473" y="2660"/>
                  </a:lnTo>
                  <a:lnTo>
                    <a:pt x="469" y="2664"/>
                  </a:lnTo>
                  <a:lnTo>
                    <a:pt x="456" y="2671"/>
                  </a:lnTo>
                  <a:lnTo>
                    <a:pt x="439" y="2680"/>
                  </a:lnTo>
                  <a:lnTo>
                    <a:pt x="417" y="2689"/>
                  </a:lnTo>
                  <a:lnTo>
                    <a:pt x="364" y="2709"/>
                  </a:lnTo>
                  <a:lnTo>
                    <a:pt x="304" y="2729"/>
                  </a:lnTo>
                  <a:lnTo>
                    <a:pt x="244" y="2746"/>
                  </a:lnTo>
                  <a:lnTo>
                    <a:pt x="216" y="2754"/>
                  </a:lnTo>
                  <a:lnTo>
                    <a:pt x="191" y="2760"/>
                  </a:lnTo>
                  <a:lnTo>
                    <a:pt x="169" y="2764"/>
                  </a:lnTo>
                  <a:lnTo>
                    <a:pt x="152" y="2767"/>
                  </a:lnTo>
                  <a:lnTo>
                    <a:pt x="140" y="2767"/>
                  </a:lnTo>
                  <a:lnTo>
                    <a:pt x="135" y="2766"/>
                  </a:lnTo>
                  <a:lnTo>
                    <a:pt x="134" y="2763"/>
                  </a:lnTo>
                  <a:lnTo>
                    <a:pt x="134" y="2763"/>
                  </a:lnTo>
                  <a:lnTo>
                    <a:pt x="130" y="2756"/>
                  </a:lnTo>
                  <a:lnTo>
                    <a:pt x="129" y="2743"/>
                  </a:lnTo>
                  <a:lnTo>
                    <a:pt x="127" y="2723"/>
                  </a:lnTo>
                  <a:lnTo>
                    <a:pt x="127" y="2700"/>
                  </a:lnTo>
                  <a:lnTo>
                    <a:pt x="125" y="2643"/>
                  </a:lnTo>
                  <a:lnTo>
                    <a:pt x="127" y="2581"/>
                  </a:lnTo>
                  <a:lnTo>
                    <a:pt x="129" y="2518"/>
                  </a:lnTo>
                  <a:lnTo>
                    <a:pt x="133" y="2462"/>
                  </a:lnTo>
                  <a:lnTo>
                    <a:pt x="135" y="2440"/>
                  </a:lnTo>
                  <a:lnTo>
                    <a:pt x="137" y="2423"/>
                  </a:lnTo>
                  <a:lnTo>
                    <a:pt x="140" y="2411"/>
                  </a:lnTo>
                  <a:lnTo>
                    <a:pt x="141" y="2407"/>
                  </a:lnTo>
                  <a:lnTo>
                    <a:pt x="142" y="2406"/>
                  </a:lnTo>
                  <a:lnTo>
                    <a:pt x="142" y="2406"/>
                  </a:lnTo>
                  <a:lnTo>
                    <a:pt x="151" y="2404"/>
                  </a:lnTo>
                  <a:lnTo>
                    <a:pt x="159" y="2403"/>
                  </a:lnTo>
                  <a:lnTo>
                    <a:pt x="170" y="2403"/>
                  </a:lnTo>
                  <a:lnTo>
                    <a:pt x="181" y="2404"/>
                  </a:lnTo>
                  <a:lnTo>
                    <a:pt x="193" y="2406"/>
                  </a:lnTo>
                  <a:lnTo>
                    <a:pt x="206" y="2409"/>
                  </a:lnTo>
                  <a:lnTo>
                    <a:pt x="234" y="2418"/>
                  </a:lnTo>
                  <a:lnTo>
                    <a:pt x="263" y="2432"/>
                  </a:lnTo>
                  <a:lnTo>
                    <a:pt x="295" y="2447"/>
                  </a:lnTo>
                  <a:lnTo>
                    <a:pt x="325" y="2466"/>
                  </a:lnTo>
                  <a:lnTo>
                    <a:pt x="355" y="2486"/>
                  </a:lnTo>
                  <a:lnTo>
                    <a:pt x="384" y="2508"/>
                  </a:lnTo>
                  <a:lnTo>
                    <a:pt x="411" y="2531"/>
                  </a:lnTo>
                  <a:lnTo>
                    <a:pt x="435" y="2554"/>
                  </a:lnTo>
                  <a:lnTo>
                    <a:pt x="445" y="2565"/>
                  </a:lnTo>
                  <a:lnTo>
                    <a:pt x="454" y="2577"/>
                  </a:lnTo>
                  <a:lnTo>
                    <a:pt x="462" y="2588"/>
                  </a:lnTo>
                  <a:lnTo>
                    <a:pt x="469" y="2599"/>
                  </a:lnTo>
                  <a:lnTo>
                    <a:pt x="474" y="2610"/>
                  </a:lnTo>
                  <a:lnTo>
                    <a:pt x="477" y="2620"/>
                  </a:lnTo>
                  <a:lnTo>
                    <a:pt x="480" y="2630"/>
                  </a:lnTo>
                  <a:lnTo>
                    <a:pt x="480" y="2640"/>
                  </a:lnTo>
                  <a:lnTo>
                    <a:pt x="479" y="2649"/>
                  </a:lnTo>
                  <a:lnTo>
                    <a:pt x="475" y="2657"/>
                  </a:lnTo>
                  <a:lnTo>
                    <a:pt x="475" y="2657"/>
                  </a:lnTo>
                  <a:close/>
                  <a:moveTo>
                    <a:pt x="490" y="2117"/>
                  </a:moveTo>
                  <a:lnTo>
                    <a:pt x="1692" y="455"/>
                  </a:lnTo>
                  <a:lnTo>
                    <a:pt x="1692" y="455"/>
                  </a:lnTo>
                  <a:lnTo>
                    <a:pt x="1694" y="453"/>
                  </a:lnTo>
                  <a:lnTo>
                    <a:pt x="1699" y="450"/>
                  </a:lnTo>
                  <a:lnTo>
                    <a:pt x="1708" y="446"/>
                  </a:lnTo>
                  <a:lnTo>
                    <a:pt x="1713" y="444"/>
                  </a:lnTo>
                  <a:lnTo>
                    <a:pt x="1720" y="443"/>
                  </a:lnTo>
                  <a:lnTo>
                    <a:pt x="1728" y="443"/>
                  </a:lnTo>
                  <a:lnTo>
                    <a:pt x="1737" y="444"/>
                  </a:lnTo>
                  <a:lnTo>
                    <a:pt x="1748" y="445"/>
                  </a:lnTo>
                  <a:lnTo>
                    <a:pt x="1760" y="449"/>
                  </a:lnTo>
                  <a:lnTo>
                    <a:pt x="1773" y="452"/>
                  </a:lnTo>
                  <a:lnTo>
                    <a:pt x="1788" y="460"/>
                  </a:lnTo>
                  <a:lnTo>
                    <a:pt x="1803" y="468"/>
                  </a:lnTo>
                  <a:lnTo>
                    <a:pt x="1821" y="478"/>
                  </a:lnTo>
                  <a:lnTo>
                    <a:pt x="1821" y="478"/>
                  </a:lnTo>
                  <a:lnTo>
                    <a:pt x="1836" y="489"/>
                  </a:lnTo>
                  <a:lnTo>
                    <a:pt x="1849" y="499"/>
                  </a:lnTo>
                  <a:lnTo>
                    <a:pt x="1859" y="509"/>
                  </a:lnTo>
                  <a:lnTo>
                    <a:pt x="1867" y="520"/>
                  </a:lnTo>
                  <a:lnTo>
                    <a:pt x="1875" y="530"/>
                  </a:lnTo>
                  <a:lnTo>
                    <a:pt x="1880" y="539"/>
                  </a:lnTo>
                  <a:lnTo>
                    <a:pt x="1883" y="549"/>
                  </a:lnTo>
                  <a:lnTo>
                    <a:pt x="1887" y="558"/>
                  </a:lnTo>
                  <a:lnTo>
                    <a:pt x="1888" y="565"/>
                  </a:lnTo>
                  <a:lnTo>
                    <a:pt x="1888" y="572"/>
                  </a:lnTo>
                  <a:lnTo>
                    <a:pt x="1888" y="584"/>
                  </a:lnTo>
                  <a:lnTo>
                    <a:pt x="1887" y="591"/>
                  </a:lnTo>
                  <a:lnTo>
                    <a:pt x="1886" y="594"/>
                  </a:lnTo>
                  <a:lnTo>
                    <a:pt x="624" y="2291"/>
                  </a:lnTo>
                  <a:lnTo>
                    <a:pt x="624" y="2094"/>
                  </a:lnTo>
                  <a:lnTo>
                    <a:pt x="490" y="2117"/>
                  </a:lnTo>
                  <a:close/>
                  <a:moveTo>
                    <a:pt x="2117" y="835"/>
                  </a:moveTo>
                  <a:lnTo>
                    <a:pt x="937" y="2462"/>
                  </a:lnTo>
                  <a:lnTo>
                    <a:pt x="902" y="2386"/>
                  </a:lnTo>
                  <a:lnTo>
                    <a:pt x="750" y="2359"/>
                  </a:lnTo>
                  <a:lnTo>
                    <a:pt x="1973" y="677"/>
                  </a:lnTo>
                  <a:lnTo>
                    <a:pt x="1973" y="677"/>
                  </a:lnTo>
                  <a:lnTo>
                    <a:pt x="1975" y="676"/>
                  </a:lnTo>
                  <a:lnTo>
                    <a:pt x="1979" y="672"/>
                  </a:lnTo>
                  <a:lnTo>
                    <a:pt x="1987" y="669"/>
                  </a:lnTo>
                  <a:lnTo>
                    <a:pt x="1992" y="669"/>
                  </a:lnTo>
                  <a:lnTo>
                    <a:pt x="1998" y="668"/>
                  </a:lnTo>
                  <a:lnTo>
                    <a:pt x="2005" y="669"/>
                  </a:lnTo>
                  <a:lnTo>
                    <a:pt x="2014" y="670"/>
                  </a:lnTo>
                  <a:lnTo>
                    <a:pt x="2022" y="674"/>
                  </a:lnTo>
                  <a:lnTo>
                    <a:pt x="2032" y="679"/>
                  </a:lnTo>
                  <a:lnTo>
                    <a:pt x="2043" y="685"/>
                  </a:lnTo>
                  <a:lnTo>
                    <a:pt x="2055" y="693"/>
                  </a:lnTo>
                  <a:lnTo>
                    <a:pt x="2067" y="704"/>
                  </a:lnTo>
                  <a:lnTo>
                    <a:pt x="2080" y="718"/>
                  </a:lnTo>
                  <a:lnTo>
                    <a:pt x="2080" y="718"/>
                  </a:lnTo>
                  <a:lnTo>
                    <a:pt x="2091" y="731"/>
                  </a:lnTo>
                  <a:lnTo>
                    <a:pt x="2101" y="741"/>
                  </a:lnTo>
                  <a:lnTo>
                    <a:pt x="2108" y="754"/>
                  </a:lnTo>
                  <a:lnTo>
                    <a:pt x="2113" y="764"/>
                  </a:lnTo>
                  <a:lnTo>
                    <a:pt x="2118" y="774"/>
                  </a:lnTo>
                  <a:lnTo>
                    <a:pt x="2120" y="784"/>
                  </a:lnTo>
                  <a:lnTo>
                    <a:pt x="2121" y="793"/>
                  </a:lnTo>
                  <a:lnTo>
                    <a:pt x="2123" y="801"/>
                  </a:lnTo>
                  <a:lnTo>
                    <a:pt x="2121" y="815"/>
                  </a:lnTo>
                  <a:lnTo>
                    <a:pt x="2120" y="826"/>
                  </a:lnTo>
                  <a:lnTo>
                    <a:pt x="2118" y="832"/>
                  </a:lnTo>
                  <a:lnTo>
                    <a:pt x="2117" y="835"/>
                  </a:lnTo>
                  <a:lnTo>
                    <a:pt x="2117" y="83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43459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XkE2KQV02Jsd7hKvJV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4fR4_wuUKxiXZCWCJKlA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37</TotalTime>
  <Words>2755</Words>
  <Application>Microsoft Office PowerPoint</Application>
  <PresentationFormat>화면 슬라이드 쇼(4:3)</PresentationFormat>
  <Paragraphs>329</Paragraphs>
  <Slides>22</Slides>
  <Notes>21</Notes>
  <HiddenSlides>0</HiddenSlides>
  <MMClips>0</MMClips>
  <ScaleCrop>false</ScaleCrop>
  <HeadingPairs>
    <vt:vector size="6" baseType="variant"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22</vt:i4>
      </vt:variant>
    </vt:vector>
  </HeadingPairs>
  <TitlesOfParts>
    <vt:vector size="24" baseType="lpstr"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assembly</dc:creator>
  <cp:lastModifiedBy>assembly</cp:lastModifiedBy>
  <cp:revision>54</cp:revision>
  <cp:lastPrinted>2014-10-22T11:11:58Z</cp:lastPrinted>
  <dcterms:created xsi:type="dcterms:W3CDTF">2014-10-15T14:03:08Z</dcterms:created>
  <dcterms:modified xsi:type="dcterms:W3CDTF">2014-10-23T14:23:42Z</dcterms:modified>
</cp:coreProperties>
</file>